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3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4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5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1.xml" ContentType="application/vnd.openxmlformats-officedocument.presentationml.tags+xml"/>
  <Override PartName="/ppt/notesSlides/notesSlide4.xml" ContentType="application/vnd.openxmlformats-officedocument.presentationml.notesSlide+xml"/>
  <Override PartName="/ppt/tags/tag52.xml" ContentType="application/vnd.openxmlformats-officedocument.presentationml.tags+xml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69" r:id="rId5"/>
    <p:sldMasterId id="2147483820" r:id="rId6"/>
    <p:sldMasterId id="2147483872" r:id="rId7"/>
    <p:sldMasterId id="2147483921" r:id="rId8"/>
    <p:sldMasterId id="2147484003" r:id="rId9"/>
  </p:sldMasterIdLst>
  <p:notesMasterIdLst>
    <p:notesMasterId r:id="rId30"/>
  </p:notesMasterIdLst>
  <p:handoutMasterIdLst>
    <p:handoutMasterId r:id="rId31"/>
  </p:handoutMasterIdLst>
  <p:sldIdLst>
    <p:sldId id="2147470656" r:id="rId10"/>
    <p:sldId id="2147474077" r:id="rId11"/>
    <p:sldId id="2147474489" r:id="rId12"/>
    <p:sldId id="2147470665" r:id="rId13"/>
    <p:sldId id="2147470535" r:id="rId14"/>
    <p:sldId id="2147474076" r:id="rId15"/>
    <p:sldId id="487" r:id="rId16"/>
    <p:sldId id="258" r:id="rId17"/>
    <p:sldId id="286" r:id="rId18"/>
    <p:sldId id="2147470666" r:id="rId19"/>
    <p:sldId id="2147474069" r:id="rId20"/>
    <p:sldId id="2147470620" r:id="rId21"/>
    <p:sldId id="2147475584" r:id="rId22"/>
    <p:sldId id="2147470998" r:id="rId23"/>
    <p:sldId id="2147475555" r:id="rId24"/>
    <p:sldId id="2147470996" r:id="rId25"/>
    <p:sldId id="2147470999" r:id="rId26"/>
    <p:sldId id="2146847343" r:id="rId27"/>
    <p:sldId id="2147475585" r:id="rId28"/>
    <p:sldId id="268" r:id="rId29"/>
  </p:sldIdLst>
  <p:sldSz cx="12192000" cy="6858000"/>
  <p:notesSz cx="6858000" cy="9144000"/>
  <p:embeddedFontLst>
    <p:embeddedFont>
      <p:font typeface="MetricHPE" panose="020B0503030202060203" pitchFamily="34" charset="0"/>
      <p:regular r:id="rId32"/>
      <p:bold r:id="rId33"/>
      <p:italic r:id="rId34"/>
      <p:boldItalic r:id="rId35"/>
    </p:embeddedFont>
    <p:embeddedFont>
      <p:font typeface="MetricHPE Black" panose="020B0803030202060203" pitchFamily="34" charset="0"/>
      <p:bold r:id="rId36"/>
      <p:italic r:id="rId37"/>
      <p:boldItalic r:id="rId38"/>
    </p:embeddedFont>
    <p:embeddedFont>
      <p:font typeface="MetricHPE Light" panose="020B0303030202060203" pitchFamily="34" charset="0"/>
      <p:regular r:id="rId39"/>
      <p:italic r:id="rId40"/>
    </p:embeddedFont>
    <p:embeddedFont>
      <p:font typeface="Trebuchet MS" panose="020B0603020202020204" pitchFamily="34" charset="0"/>
      <p:regular r:id="rId41"/>
      <p:bold r:id="rId42"/>
      <p:italic r:id="rId43"/>
      <p:boldItalic r:id="rId44"/>
    </p:embeddedFont>
  </p:embeddedFontLst>
  <p:custDataLst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C0B2134F-40E4-4093-9C89-53BAEA5D8A48}">
          <p14:sldIdLst>
            <p14:sldId id="2147470656"/>
            <p14:sldId id="2147474077"/>
            <p14:sldId id="2147474489"/>
            <p14:sldId id="2147470665"/>
            <p14:sldId id="2147470535"/>
            <p14:sldId id="2147474076"/>
            <p14:sldId id="487"/>
            <p14:sldId id="258"/>
            <p14:sldId id="286"/>
            <p14:sldId id="2147470666"/>
            <p14:sldId id="2147474069"/>
            <p14:sldId id="2147470620"/>
            <p14:sldId id="2147475584"/>
            <p14:sldId id="2147470998"/>
            <p14:sldId id="2147475555"/>
            <p14:sldId id="2147470996"/>
            <p14:sldId id="2147470999"/>
            <p14:sldId id="2146847343"/>
            <p14:sldId id="2147475585"/>
          </p14:sldIdLst>
        </p14:section>
        <p14:section name="Default Section" id="{0B88A900-5E2D-497E-8FC1-D6B9A09AF079}">
          <p14:sldIdLst>
            <p14:sldId id="2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4" orient="horz" pos="3840" userDrawn="1">
          <p15:clr>
            <a:srgbClr val="A4A3A4"/>
          </p15:clr>
        </p15:guide>
        <p15:guide id="5" pos="3864" userDrawn="1">
          <p15:clr>
            <a:srgbClr val="A4A3A4"/>
          </p15:clr>
        </p15:guide>
        <p15:guide id="7" pos="7287" userDrawn="1">
          <p15:clr>
            <a:srgbClr val="A4A3A4"/>
          </p15:clr>
        </p15:guide>
        <p15:guide id="8" orient="horz" pos="958" userDrawn="1">
          <p15:clr>
            <a:srgbClr val="A4A3A4"/>
          </p15:clr>
        </p15:guide>
        <p15:guide id="9" orient="horz" pos="10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Seo" initials="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C834"/>
    <a:srgbClr val="A422CA"/>
    <a:srgbClr val="E13180"/>
    <a:srgbClr val="FFCD00"/>
    <a:srgbClr val="F2654D"/>
    <a:srgbClr val="FF66FF"/>
    <a:srgbClr val="FF8600"/>
    <a:srgbClr val="D22E92"/>
    <a:srgbClr val="C9C9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dk1"/>
            </a:lnRef>
          </a:top>
          <a:bottom>
            <a:lnRef idx="1">
              <a:schemeClr val="dk1"/>
            </a:lnRef>
          </a:bottom>
        </a:tcBdr>
      </a:tcStyle>
    </a:band1H>
    <a:band1V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</a:tcBdr>
      </a:tcStyle>
    </a:band1V>
    <a:band2V>
      <a:tcStyle>
        <a:tcBdr>
          <a:left>
            <a:lnRef idx="1">
              <a:schemeClr val="dk1"/>
            </a:lnRef>
          </a:left>
          <a:right>
            <a:lnRef idx="1">
              <a:schemeClr val="dk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Ref idx="1">
          <a:schemeClr val="dk1">
            <a:tint val="80000"/>
          </a:schemeClr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6053" autoAdjust="0"/>
  </p:normalViewPr>
  <p:slideViewPr>
    <p:cSldViewPr snapToGrid="0">
      <p:cViewPr varScale="1">
        <p:scale>
          <a:sx n="65" d="100"/>
          <a:sy n="65" d="100"/>
        </p:scale>
        <p:origin x="1330" y="38"/>
      </p:cViewPr>
      <p:guideLst>
        <p:guide orient="horz" pos="2183"/>
        <p:guide orient="horz" pos="3840"/>
        <p:guide pos="3864"/>
        <p:guide pos="7287"/>
        <p:guide orient="horz" pos="958"/>
        <p:guide orient="horz" pos="104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font" Target="fonts/font8.fntdata"/><Relationship Id="rId21" Type="http://schemas.openxmlformats.org/officeDocument/2006/relationships/slide" Target="slides/slide12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font" Target="fonts/font5.fntdata"/><Relationship Id="rId49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handoutMaster" Target="handoutMasters/handoutMaster1.xml"/><Relationship Id="rId44" Type="http://schemas.openxmlformats.org/officeDocument/2006/relationships/font" Target="fonts/font13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commentAuthors" Target="commentAuthors.xml"/><Relationship Id="rId20" Type="http://schemas.openxmlformats.org/officeDocument/2006/relationships/slide" Target="slides/slide11.xml"/><Relationship Id="rId41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lijja, Imran" userId="77d6b264-73e1-4fbc-a34b-4f5032b92b1a" providerId="ADAL" clId="{01FB5BDB-296A-4AE5-BC0E-04C2338DA1E3}"/>
    <pc:docChg chg="modSld">
      <pc:chgData name="Flijja, Imran" userId="77d6b264-73e1-4fbc-a34b-4f5032b92b1a" providerId="ADAL" clId="{01FB5BDB-296A-4AE5-BC0E-04C2338DA1E3}" dt="2024-02-01T09:04:12.568" v="17" actId="20577"/>
      <pc:docMkLst>
        <pc:docMk/>
      </pc:docMkLst>
      <pc:sldChg chg="modNotesTx">
        <pc:chgData name="Flijja, Imran" userId="77d6b264-73e1-4fbc-a34b-4f5032b92b1a" providerId="ADAL" clId="{01FB5BDB-296A-4AE5-BC0E-04C2338DA1E3}" dt="2024-02-01T09:03:07.094" v="7" actId="20577"/>
        <pc:sldMkLst>
          <pc:docMk/>
          <pc:sldMk cId="4088818932" sldId="258"/>
        </pc:sldMkLst>
      </pc:sldChg>
      <pc:sldChg chg="modNotesTx">
        <pc:chgData name="Flijja, Imran" userId="77d6b264-73e1-4fbc-a34b-4f5032b92b1a" providerId="ADAL" clId="{01FB5BDB-296A-4AE5-BC0E-04C2338DA1E3}" dt="2024-02-01T09:03:11.778" v="8" actId="20577"/>
        <pc:sldMkLst>
          <pc:docMk/>
          <pc:sldMk cId="3336713841" sldId="286"/>
        </pc:sldMkLst>
      </pc:sldChg>
      <pc:sldChg chg="modNotesTx">
        <pc:chgData name="Flijja, Imran" userId="77d6b264-73e1-4fbc-a34b-4f5032b92b1a" providerId="ADAL" clId="{01FB5BDB-296A-4AE5-BC0E-04C2338DA1E3}" dt="2024-02-01T09:02:56.362" v="6" actId="20577"/>
        <pc:sldMkLst>
          <pc:docMk/>
          <pc:sldMk cId="358975130" sldId="487"/>
        </pc:sldMkLst>
      </pc:sldChg>
      <pc:sldChg chg="modNotesTx">
        <pc:chgData name="Flijja, Imran" userId="77d6b264-73e1-4fbc-a34b-4f5032b92b1a" providerId="ADAL" clId="{01FB5BDB-296A-4AE5-BC0E-04C2338DA1E3}" dt="2024-02-01T09:04:02.827" v="16" actId="20577"/>
        <pc:sldMkLst>
          <pc:docMk/>
          <pc:sldMk cId="417868684" sldId="2146847343"/>
        </pc:sldMkLst>
      </pc:sldChg>
      <pc:sldChg chg="modNotesTx">
        <pc:chgData name="Flijja, Imran" userId="77d6b264-73e1-4fbc-a34b-4f5032b92b1a" providerId="ADAL" clId="{01FB5BDB-296A-4AE5-BC0E-04C2338DA1E3}" dt="2024-02-01T09:02:40.869" v="4" actId="20577"/>
        <pc:sldMkLst>
          <pc:docMk/>
          <pc:sldMk cId="915046267" sldId="2147470535"/>
        </pc:sldMkLst>
      </pc:sldChg>
      <pc:sldChg chg="modNotesTx">
        <pc:chgData name="Flijja, Imran" userId="77d6b264-73e1-4fbc-a34b-4f5032b92b1a" providerId="ADAL" clId="{01FB5BDB-296A-4AE5-BC0E-04C2338DA1E3}" dt="2024-02-01T09:02:17.389" v="0" actId="20577"/>
        <pc:sldMkLst>
          <pc:docMk/>
          <pc:sldMk cId="3818854408" sldId="2147470656"/>
        </pc:sldMkLst>
      </pc:sldChg>
      <pc:sldChg chg="modNotesTx">
        <pc:chgData name="Flijja, Imran" userId="77d6b264-73e1-4fbc-a34b-4f5032b92b1a" providerId="ADAL" clId="{01FB5BDB-296A-4AE5-BC0E-04C2338DA1E3}" dt="2024-02-01T09:02:35.713" v="3" actId="20577"/>
        <pc:sldMkLst>
          <pc:docMk/>
          <pc:sldMk cId="1159474963" sldId="2147470665"/>
        </pc:sldMkLst>
      </pc:sldChg>
      <pc:sldChg chg="modNotesTx">
        <pc:chgData name="Flijja, Imran" userId="77d6b264-73e1-4fbc-a34b-4f5032b92b1a" providerId="ADAL" clId="{01FB5BDB-296A-4AE5-BC0E-04C2338DA1E3}" dt="2024-02-01T09:03:16.796" v="9" actId="20577"/>
        <pc:sldMkLst>
          <pc:docMk/>
          <pc:sldMk cId="2813514734" sldId="2147470666"/>
        </pc:sldMkLst>
      </pc:sldChg>
      <pc:sldChg chg="modNotesTx">
        <pc:chgData name="Flijja, Imran" userId="77d6b264-73e1-4fbc-a34b-4f5032b92b1a" providerId="ADAL" clId="{01FB5BDB-296A-4AE5-BC0E-04C2338DA1E3}" dt="2024-02-01T09:03:52.113" v="14" actId="20577"/>
        <pc:sldMkLst>
          <pc:docMk/>
          <pc:sldMk cId="1320808440" sldId="2147470996"/>
        </pc:sldMkLst>
      </pc:sldChg>
      <pc:sldChg chg="modNotesTx">
        <pc:chgData name="Flijja, Imran" userId="77d6b264-73e1-4fbc-a34b-4f5032b92b1a" providerId="ADAL" clId="{01FB5BDB-296A-4AE5-BC0E-04C2338DA1E3}" dt="2024-02-01T09:03:35.594" v="12" actId="20577"/>
        <pc:sldMkLst>
          <pc:docMk/>
          <pc:sldMk cId="2351798584" sldId="2147470998"/>
        </pc:sldMkLst>
      </pc:sldChg>
      <pc:sldChg chg="modNotesTx">
        <pc:chgData name="Flijja, Imran" userId="77d6b264-73e1-4fbc-a34b-4f5032b92b1a" providerId="ADAL" clId="{01FB5BDB-296A-4AE5-BC0E-04C2338DA1E3}" dt="2024-02-01T09:03:57.185" v="15" actId="20577"/>
        <pc:sldMkLst>
          <pc:docMk/>
          <pc:sldMk cId="2718845801" sldId="2147470999"/>
        </pc:sldMkLst>
      </pc:sldChg>
      <pc:sldChg chg="modNotesTx">
        <pc:chgData name="Flijja, Imran" userId="77d6b264-73e1-4fbc-a34b-4f5032b92b1a" providerId="ADAL" clId="{01FB5BDB-296A-4AE5-BC0E-04C2338DA1E3}" dt="2024-02-01T09:03:20.972" v="10" actId="20577"/>
        <pc:sldMkLst>
          <pc:docMk/>
          <pc:sldMk cId="873710997" sldId="2147474069"/>
        </pc:sldMkLst>
      </pc:sldChg>
      <pc:sldChg chg="modNotesTx">
        <pc:chgData name="Flijja, Imran" userId="77d6b264-73e1-4fbc-a34b-4f5032b92b1a" providerId="ADAL" clId="{01FB5BDB-296A-4AE5-BC0E-04C2338DA1E3}" dt="2024-02-01T09:02:50.037" v="5" actId="20577"/>
        <pc:sldMkLst>
          <pc:docMk/>
          <pc:sldMk cId="4016044339" sldId="2147474076"/>
        </pc:sldMkLst>
      </pc:sldChg>
      <pc:sldChg chg="modNotesTx">
        <pc:chgData name="Flijja, Imran" userId="77d6b264-73e1-4fbc-a34b-4f5032b92b1a" providerId="ADAL" clId="{01FB5BDB-296A-4AE5-BC0E-04C2338DA1E3}" dt="2024-02-01T09:02:21.197" v="1" actId="20577"/>
        <pc:sldMkLst>
          <pc:docMk/>
          <pc:sldMk cId="3661417650" sldId="2147474077"/>
        </pc:sldMkLst>
      </pc:sldChg>
      <pc:sldChg chg="modNotesTx">
        <pc:chgData name="Flijja, Imran" userId="77d6b264-73e1-4fbc-a34b-4f5032b92b1a" providerId="ADAL" clId="{01FB5BDB-296A-4AE5-BC0E-04C2338DA1E3}" dt="2024-02-01T09:02:29.782" v="2" actId="20577"/>
        <pc:sldMkLst>
          <pc:docMk/>
          <pc:sldMk cId="4255261913" sldId="2147474489"/>
        </pc:sldMkLst>
      </pc:sldChg>
      <pc:sldChg chg="modNotesTx">
        <pc:chgData name="Flijja, Imran" userId="77d6b264-73e1-4fbc-a34b-4f5032b92b1a" providerId="ADAL" clId="{01FB5BDB-296A-4AE5-BC0E-04C2338DA1E3}" dt="2024-02-01T09:03:42.229" v="13" actId="20577"/>
        <pc:sldMkLst>
          <pc:docMk/>
          <pc:sldMk cId="2732269975" sldId="2147475555"/>
        </pc:sldMkLst>
      </pc:sldChg>
      <pc:sldChg chg="modNotesTx">
        <pc:chgData name="Flijja, Imran" userId="77d6b264-73e1-4fbc-a34b-4f5032b92b1a" providerId="ADAL" clId="{01FB5BDB-296A-4AE5-BC0E-04C2338DA1E3}" dt="2024-02-01T09:03:30.361" v="11" actId="20577"/>
        <pc:sldMkLst>
          <pc:docMk/>
          <pc:sldMk cId="521641964" sldId="2147475584"/>
        </pc:sldMkLst>
      </pc:sldChg>
      <pc:sldChg chg="modNotesTx">
        <pc:chgData name="Flijja, Imran" userId="77d6b264-73e1-4fbc-a34b-4f5032b92b1a" providerId="ADAL" clId="{01FB5BDB-296A-4AE5-BC0E-04C2338DA1E3}" dt="2024-02-01T09:04:12.568" v="17" actId="20577"/>
        <pc:sldMkLst>
          <pc:docMk/>
          <pc:sldMk cId="4273896032" sldId="2147475585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>
              <a:latin typeface="MetricHPE" panose="020B0503030202060203" pitchFamily="34" charset="-18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A61830-C416-483F-955E-54203C65B711}" type="datetimeFigureOut">
              <a:rPr lang="en-US">
                <a:latin typeface="MetricHPE" panose="020B0503030202060203" pitchFamily="34" charset="-18"/>
              </a:rPr>
              <a:t>2/1/2024</a:t>
            </a:fld>
            <a:endParaRPr>
              <a:latin typeface="MetricHPE" panose="020B0503030202060203" pitchFamily="34" charset="-1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>
              <a:latin typeface="MetricHPE" panose="020B0503030202060203" pitchFamily="34" charset="-18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31B20-3646-4475-8BC4-560CAF715D08}" type="slidenum">
              <a:rPr>
                <a:latin typeface="MetricHPE" panose="020B0503030202060203" pitchFamily="34" charset="-18"/>
              </a:rPr>
              <a:t>‹#›</a:t>
            </a:fld>
            <a:endParaRPr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8292446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381000"/>
            <a:ext cx="4572001" cy="25733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3124200"/>
            <a:ext cx="6096000" cy="533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81000" y="8686800"/>
            <a:ext cx="48768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latin typeface="MetricHPE" panose="020B0503030202060203" pitchFamily="34" charset="-18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67400" y="8686800"/>
            <a:ext cx="609600" cy="22701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latin typeface="MetricHPE" panose="020B0503030202060203" pitchFamily="34" charset="-18"/>
              </a:defRPr>
            </a:lvl1pPr>
          </a:lstStyle>
          <a:p>
            <a:fld id="{5BFEAE42-E3FE-4405-B7FC-4425D05B92A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Header Placeholder 2">
            <a:extLst>
              <a:ext uri="{FF2B5EF4-FFF2-40B4-BE49-F238E27FC236}">
                <a16:creationId xmlns:a16="http://schemas.microsoft.com/office/drawing/2014/main" id="{1ABBFA18-F005-4413-AD3D-C41E73AAEA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363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45720" indent="-36576" algn="l" defTabSz="914400" rtl="0" eaLnBrk="1" latinLnBrk="0" hangingPunct="1">
      <a:spcBef>
        <a:spcPts val="600"/>
      </a:spcBef>
      <a:buSzPct val="25000"/>
      <a:buFont typeface="" panose="020B0303030202060203" pitchFamily="34" charset="0"/>
      <a:buChar char=" "/>
      <a:defRPr sz="110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1pPr>
    <a:lvl2pPr marL="228600" indent="-137160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105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2pPr>
    <a:lvl3pPr marL="36576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100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3pPr>
    <a:lvl4pPr marL="54864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90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4pPr>
    <a:lvl5pPr marL="731520" indent="-109728" algn="l" defTabSz="914400" rtl="0" eaLnBrk="1" latinLnBrk="0" hangingPunct="1">
      <a:spcBef>
        <a:spcPts val="600"/>
      </a:spcBef>
      <a:buFont typeface="" panose="020B0303030202060203" pitchFamily="34" charset="0"/>
      <a:buChar char="–"/>
      <a:defRPr sz="800" kern="1200">
        <a:solidFill>
          <a:schemeClr val="tx1"/>
        </a:solidFill>
        <a:latin typeface="MetricHPE" panose="020B0503030202060203" pitchFamily="34" charset="-18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7774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Clr>
                <a:prstClr val="black"/>
              </a:buClr>
              <a:buNone/>
            </a:pPr>
            <a:endParaRPr lang="en-US" sz="1400" dirty="0">
              <a:solidFill>
                <a:prstClr val="black"/>
              </a:solidFill>
              <a:latin typeface="MetricHPE" panose="020B0703030202060203" pitchFamily="34" charset="0"/>
            </a:endParaRPr>
          </a:p>
          <a:p>
            <a:pPr marL="0" indent="0">
              <a:buClr>
                <a:prstClr val="black"/>
              </a:buCl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15518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-36195">
              <a:spcBef>
                <a:spcPts val="0"/>
              </a:spcBef>
            </a:pPr>
            <a:endParaRPr lang="es-ES_tradnl" sz="1800" dirty="0">
              <a:effectLst/>
              <a:latin typeface="Calibri"/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-18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-18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38693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algn="l"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-18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-18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28856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4175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100" b="0" dirty="0">
              <a:effectLst/>
              <a:latin typeface="MetricHPE Light" panose="020B0303030202060203" pitchFamily="34" charset="77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-18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-18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26756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45720" marR="0" lvl="0" indent="-36576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buFont typeface="" panose="020B0303030202060203" pitchFamily="34" charset="0"/>
              <a:buChar char=" 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-18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1710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25000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5466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1163" y="390525"/>
            <a:ext cx="4689475" cy="2638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 rtl="0"/>
            <a:endParaRPr lang="en-US" sz="1100" kern="1200" dirty="0">
              <a:solidFill>
                <a:schemeClr val="tx1"/>
              </a:solidFill>
              <a:effectLst/>
              <a:latin typeface="MetricHPE" panose="020B0503030202060203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7053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144F6-1F44-484E-96B6-CAB23FCB330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pPr marL="0" marR="0" lvl="0" indent="0" algn="l" defTabSz="70534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4890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36195"/>
            <a:endParaRPr lang="en-US" dirty="0">
              <a:latin typeface="MetricHPE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730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-36195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945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FEAE42-E3FE-4405-B7FC-4425D05B92A0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898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1565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67393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FEAE42-E3FE-4405-B7FC-4425D05B92A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6135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buSzTx/>
              <a:buNone/>
              <a:defRPr/>
            </a:pPr>
            <a:endParaRPr lang="en-US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  <a:latin typeface="MetricHPE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CE74B2-2363-4B18-A9DA-52C68CA380CC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40424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100" i="0" u="none" strike="noStrike" kern="1200" baseline="0" dirty="0">
              <a:solidFill>
                <a:schemeClr val="tx1"/>
              </a:solidFill>
              <a:latin typeface="MetricHPE" panose="020B0503030202060203" pitchFamily="34" charset="0"/>
            </a:endParaRPr>
          </a:p>
          <a:p>
            <a:pPr marL="9144" indent="0">
              <a:spcBef>
                <a:spcPts val="0"/>
              </a:spcBef>
              <a:buSzTx/>
              <a:buNone/>
            </a:pPr>
            <a:endParaRPr lang="en-US" sz="1100" i="0" u="none" strike="noStrike" kern="1200" baseline="0" dirty="0">
              <a:solidFill>
                <a:schemeClr val="tx1"/>
              </a:solidFill>
              <a:latin typeface="MetricHPE" panose="020B0503030202060203" pitchFamily="34" charset="0"/>
            </a:endParaRPr>
          </a:p>
          <a:p>
            <a:pPr marL="9144" indent="0">
              <a:spcBef>
                <a:spcPts val="0"/>
              </a:spcBef>
              <a:buSzTx/>
              <a:buFontTx/>
              <a:buNone/>
            </a:pPr>
            <a:endParaRPr lang="en-US" sz="1100" u="sng" kern="1200" baseline="0" dirty="0">
              <a:solidFill>
                <a:schemeClr val="tx1"/>
              </a:solidFill>
              <a:effectLst/>
              <a:latin typeface="MetricHPE" panose="020B0503030202060203" pitchFamily="34" charset="0"/>
            </a:endParaRPr>
          </a:p>
          <a:p>
            <a:pPr marL="9144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Font typeface="" panose="020B0303030202060203" pitchFamily="34" charset="0"/>
              <a:buNone/>
              <a:tabLst/>
              <a:defRPr/>
            </a:pPr>
            <a:endParaRPr lang="en-US" sz="1100" u="sng" kern="1200" dirty="0">
              <a:solidFill>
                <a:schemeClr val="tx1"/>
              </a:solidFill>
              <a:effectLst/>
            </a:endParaRPr>
          </a:p>
          <a:p>
            <a:pPr marL="9144" marR="0" lvl="0" indent="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Font typeface="" panose="020B0303030202060203" pitchFamily="34" charset="0"/>
              <a:buNone/>
              <a:tabLst/>
              <a:defRPr/>
            </a:pPr>
            <a:endParaRPr lang="en-US" sz="1100" u="sng" kern="1200" dirty="0">
              <a:solidFill>
                <a:schemeClr val="tx1"/>
              </a:solidFill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FEAE42-E3FE-4405-B7FC-4425D05B92A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0474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100" kern="1200" baseline="0" dirty="0">
              <a:solidFill>
                <a:schemeClr val="tx1"/>
              </a:solidFill>
              <a:effectLst/>
              <a:latin typeface="MetricHPE" panose="020B0503030202060203" pitchFamily="34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BFEAE42-E3FE-4405-B7FC-4425D05B92A0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749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7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8.bin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Relationship Id="rId5" Type="http://schemas.openxmlformats.org/officeDocument/2006/relationships/hyperlink" Target="https://hpe.kadanza.com/kadanza/photography/ppt-title-images/?sso=saml" TargetMode="External"/><Relationship Id="rId4" Type="http://schemas.openxmlformats.org/officeDocument/2006/relationships/image" Target="../media/image1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https://res.cloudinary.com/dym0pdv2c/image/upload/v1683211604/image001_cuab4p.png" TargetMode="External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https://res.cloudinary.com/dym0pdv2c/image/upload/v1683211604/image001_cuab4p.png" TargetMode="External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8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8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8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8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8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8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8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8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8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2.png"/><Relationship Id="rId4" Type="http://schemas.openxmlformats.org/officeDocument/2006/relationships/image" Target="../media/image8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8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8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8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8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8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8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https://res.cloudinary.com/dym0pdv2c/image/upload/v1683211604/image001_cuab4p.png" TargetMode="External"/><Relationship Id="rId4" Type="http://schemas.openxmlformats.org/officeDocument/2006/relationships/image" Target="../media/image8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8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8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8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8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8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8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8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8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8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8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8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8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8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8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8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5" Type="http://schemas.openxmlformats.org/officeDocument/2006/relationships/image" Target="../media/image3.jpeg"/><Relationship Id="rId4" Type="http://schemas.openxmlformats.org/officeDocument/2006/relationships/image" Target="../media/image8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4.jpeg"/><Relationship Id="rId4" Type="http://schemas.openxmlformats.org/officeDocument/2006/relationships/image" Target="../media/image8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openxmlformats.org/officeDocument/2006/relationships/image" Target="../media/image8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4" Type="http://schemas.openxmlformats.org/officeDocument/2006/relationships/image" Target="../media/image8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8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955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71715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761644-9DA3-39EE-2F12-1812A88F0F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75001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F1482F-8639-47A2-A14A-A0564FE1EA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8F1482F-8639-47A2-A14A-A0564FE1E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prstClr val="white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>
                  <a:solidFill>
                    <a:prstClr val="white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>
                  <a:solidFill>
                    <a:prstClr val="white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>
                  <a:solidFill>
                    <a:prstClr val="white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prstClr val="white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>
                  <a:solidFill>
                    <a:prstClr val="white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>
                  <a:solidFill>
                    <a:prstClr val="white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000" b="1">
                  <a:solidFill>
                    <a:prstClr val="white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8306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0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2B8E20-E8AA-4D88-B700-6A8DED26D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32B8E20-E8AA-4D88-B700-6A8DED26D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srgbClr val="787871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02774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BA37E09-15BF-40BD-957F-A66DBE2CB9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395" y="3117272"/>
            <a:ext cx="11496766" cy="690645"/>
          </a:xfrm>
          <a:prstGeom prst="rect">
            <a:avLst/>
          </a:prstGeom>
        </p:spPr>
        <p:txBody>
          <a:bodyPr lIns="274320" tIns="274320" rIns="274320" bIns="274320" anchor="ctr" anchorCtr="0"/>
          <a:lstStyle>
            <a:lvl1pPr>
              <a:lnSpc>
                <a:spcPct val="85000"/>
              </a:lnSpc>
              <a:defRPr sz="43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8EE4D941-33C1-450E-B7BA-1948948212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5395" y="4068903"/>
            <a:ext cx="7714246" cy="439738"/>
          </a:xfrm>
          <a:prstGeom prst="rect">
            <a:avLst/>
          </a:prstGeom>
        </p:spPr>
        <p:txBody>
          <a:bodyPr lIns="274320" tIns="274320" rIns="274320" bIns="274320" anchor="ctr">
            <a:noAutofit/>
          </a:bodyPr>
          <a:lstStyle>
            <a:lvl1pPr marL="0" indent="0">
              <a:buNone/>
              <a:defRPr sz="2999"/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1ECEA7DA-F5C6-4C57-8933-CD55275DA3D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5395" y="4544032"/>
            <a:ext cx="7714246" cy="439738"/>
          </a:xfrm>
          <a:prstGeom prst="rect">
            <a:avLst/>
          </a:prstGeom>
        </p:spPr>
        <p:txBody>
          <a:bodyPr lIns="274320" tIns="274320" rIns="274320" bIns="274320"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419839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A6D97C88-A490-457E-A4E4-96FE7DC7DA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81027" y="6286474"/>
            <a:ext cx="93911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2000" kern="1200" normalizeH="0" baseline="100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sp>
        <p:nvSpPr>
          <p:cNvPr id="14" name="Element">
            <a:extLst>
              <a:ext uri="{FF2B5EF4-FFF2-40B4-BE49-F238E27FC236}">
                <a16:creationId xmlns:a16="http://schemas.microsoft.com/office/drawing/2014/main" id="{BE3A1621-58FB-4E1E-876D-FB3960356E4C}"/>
              </a:ext>
            </a:extLst>
          </p:cNvPr>
          <p:cNvSpPr>
            <a:spLocks noChangeAspect="1"/>
          </p:cNvSpPr>
          <p:nvPr userDrawn="1"/>
        </p:nvSpPr>
        <p:spPr>
          <a:xfrm>
            <a:off x="10818285" y="342900"/>
            <a:ext cx="953876" cy="273641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900"/>
          </a:p>
        </p:txBody>
      </p:sp>
    </p:spTree>
    <p:extLst>
      <p:ext uri="{BB962C8B-B14F-4D97-AF65-F5344CB8AC3E}">
        <p14:creationId xmlns:p14="http://schemas.microsoft.com/office/powerpoint/2010/main" val="40865218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schemeClr val="bg1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560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schemeClr val="bg1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23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schemeClr val="tx1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E28BBF5B-08AD-4A77-9AEC-6683501C3E9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1516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chemeClr val="accent1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85555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721696" y="6145097"/>
            <a:ext cx="7481160" cy="411581"/>
          </a:xfrm>
        </p:spPr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61132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362765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177610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16669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2971558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3851282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391361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1498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38133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>
          <a:xfrm>
            <a:off x="3721696" y="6154815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403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721696" y="6149439"/>
            <a:ext cx="7481160" cy="411581"/>
          </a:xfrm>
        </p:spPr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93722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89357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3721696" y="6143092"/>
            <a:ext cx="7481160" cy="411581"/>
          </a:xfrm>
        </p:spPr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228597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3721696" y="6153668"/>
            <a:ext cx="7481160" cy="411581"/>
          </a:xfrm>
        </p:spPr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2999929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32019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509F307F-2042-4E5D-9DD3-7346390C823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D93EC89-D007-42C7-92F3-5FAFA7AF243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358729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Heading 2"/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807963B9-3178-4B51-AFEC-FF40F8FF05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376363"/>
            <a:ext cx="5416903" cy="47196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AE93C262-FA4B-43C3-AD92-4CEC861AD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14D7CD-D200-4A01-8CED-7A9B823997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9E1FA036-2D0C-4476-9395-CB088922F48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HPE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3150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3721696" y="6182348"/>
            <a:ext cx="7481160" cy="411581"/>
          </a:xfrm>
        </p:spPr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8634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21696" y="6164306"/>
            <a:ext cx="7481160" cy="411581"/>
          </a:xfrm>
        </p:spPr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343288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3721696" y="6148050"/>
            <a:ext cx="7481160" cy="411581"/>
          </a:xfrm>
        </p:spPr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399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3721696" y="6143092"/>
            <a:ext cx="7481160" cy="411581"/>
          </a:xfrm>
        </p:spPr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22519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2672467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36918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72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  <p:sp>
        <p:nvSpPr>
          <p:cNvPr id="6" name="Bar">
            <a:extLst>
              <a:ext uri="{FF2B5EF4-FFF2-40B4-BE49-F238E27FC236}">
                <a16:creationId xmlns:a16="http://schemas.microsoft.com/office/drawing/2014/main" id="{E884D57C-DE96-4DA8-9B1B-592B99A5CF8D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3105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82546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3234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153777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47175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134146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177564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381722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156634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301983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20194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2161436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4192667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35919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999763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190911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6015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1961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  <a:latin typeface="+mj-lt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886407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1693377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21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1907007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76AD8869-84BF-4E5A-A6C7-8F3D928C24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</p:spTree>
    <p:extLst>
      <p:ext uri="{BB962C8B-B14F-4D97-AF65-F5344CB8AC3E}">
        <p14:creationId xmlns:p14="http://schemas.microsoft.com/office/powerpoint/2010/main" val="2687538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bg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285743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285743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753882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753883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403F5446-4250-45EA-9C49-CC372FEF99B3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91103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30616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bg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bg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rgbClr val="000000">
                      <a:alpha val="0"/>
                    </a:srgbClr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3445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HPE Internal Use Only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1746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ank Yo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0157" y="342900"/>
            <a:ext cx="5815842" cy="3333476"/>
          </a:xfrm>
        </p:spPr>
        <p:txBody>
          <a:bodyPr lIns="274320" anchor="b"/>
          <a:lstStyle>
            <a:lvl1pPr>
              <a:defRPr sz="3199" baseline="0"/>
            </a:lvl1pPr>
          </a:lstStyle>
          <a:p>
            <a:r>
              <a:rPr lang="en-US"/>
              <a:t>Click to add Thank </a:t>
            </a:r>
            <a:br>
              <a:rPr lang="en-US"/>
            </a:br>
            <a:r>
              <a:rPr lang="en-US"/>
              <a:t>You message</a:t>
            </a:r>
          </a:p>
        </p:txBody>
      </p:sp>
      <p:sp>
        <p:nvSpPr>
          <p:cNvPr id="6" name="Bar"/>
          <p:cNvSpPr/>
          <p:nvPr userDrawn="1"/>
        </p:nvSpPr>
        <p:spPr>
          <a:xfrm>
            <a:off x="419839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lang="en-US" b="0" i="0" smtClean="0">
                <a:effectLst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4FC826-72BB-4AF1-BA01-A94F7396A7D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act">
            <a:extLst>
              <a:ext uri="{FF2B5EF4-FFF2-40B4-BE49-F238E27FC236}">
                <a16:creationId xmlns:a16="http://schemas.microsoft.com/office/drawing/2014/main" id="{B72C3CCE-9EB5-4826-BCA5-69C503F5E3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995" y="3676376"/>
            <a:ext cx="5815842" cy="2077654"/>
          </a:xfrm>
        </p:spPr>
        <p:txBody>
          <a:bodyPr lIns="274320" anchor="t" anchorCtr="0">
            <a:noAutofit/>
          </a:bodyPr>
          <a:lstStyle>
            <a:lvl1pPr marL="0" indent="0">
              <a:lnSpc>
                <a:spcPct val="90000"/>
              </a:lnSpc>
              <a:buNone/>
              <a:defRPr sz="2400" baseline="0"/>
            </a:lvl1pPr>
            <a:lvl2pPr marL="201128" indent="0">
              <a:buNone/>
              <a:defRPr sz="2400"/>
            </a:lvl2pPr>
            <a:lvl3pPr marL="429682" indent="0">
              <a:buNone/>
              <a:defRPr sz="2400"/>
            </a:lvl3pPr>
            <a:lvl4pPr marL="658236" indent="0">
              <a:buNone/>
              <a:defRPr sz="2400"/>
            </a:lvl4pPr>
            <a:lvl5pPr marL="886791" indent="0">
              <a:buNone/>
              <a:defRPr sz="2400"/>
            </a:lvl5pPr>
          </a:lstStyle>
          <a:p>
            <a:pPr lvl="0"/>
            <a:r>
              <a:rPr lang="en-US"/>
              <a:t>Speaker 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70889377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0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660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b="1" i="0">
                <a:latin typeface="MetricHPE" panose="020B0503030202060203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8242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078010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6703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7627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423207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7068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32612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180346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3215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81218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+mn-lt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549027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040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57673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06770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907948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94443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83249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4975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66946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924336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607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9981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6570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16991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682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844904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76811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4651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389278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265666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96930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428983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443716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404283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835991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1993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85284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284403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518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4217184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1480285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70471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7375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4009987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2070740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3557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</p:spTree>
    <p:extLst>
      <p:ext uri="{BB962C8B-B14F-4D97-AF65-F5344CB8AC3E}">
        <p14:creationId xmlns:p14="http://schemas.microsoft.com/office/powerpoint/2010/main" val="346839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4</a:t>
            </a:fld>
            <a:r>
              <a:rPr lang="en-US" sz="1200">
                <a:solidFill>
                  <a:schemeClr val="bg1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067133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372400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5319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160840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7419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 dirty="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ONFIDENTIAL | AUTHORIZED HPE PARTNER USE ONL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44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with Dark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A3E8E7-52D6-40A7-9197-43B15744BE9C}"/>
              </a:ext>
            </a:extLst>
          </p:cNvPr>
          <p:cNvSpPr/>
          <p:nvPr userDrawn="1"/>
        </p:nvSpPr>
        <p:spPr bwMode="ltGray">
          <a:xfrm>
            <a:off x="-209550" y="0"/>
            <a:ext cx="12611100" cy="6962775"/>
          </a:xfrm>
          <a:prstGeom prst="rect">
            <a:avLst/>
          </a:prstGeom>
          <a:solidFill>
            <a:srgbClr val="000000">
              <a:alpha val="18824"/>
            </a:srgbClr>
          </a:solidFill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tIns="91440" bIns="91440" rtlCol="0" anchor="ctr"/>
          <a:lstStyle/>
          <a:p>
            <a:pPr algn="ctr"/>
            <a:endParaRPr lang="en-GB" err="1">
              <a:solidFill>
                <a:schemeClr val="bg1"/>
              </a:solidFill>
            </a:endParaRPr>
          </a:p>
        </p:txBody>
      </p:sp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p15="http://schemas.microsoft.com/office/powerpoint/2012/main" xmlns:p159="http://schemas.microsoft.com/office/powerpoint/2015/09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p15="http://schemas.microsoft.com/office/powerpoint/2012/main" xmlns:p159="http://schemas.microsoft.com/office/powerpoint/2015/09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39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39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ct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39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ct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21764D1-68F8-431E-811A-D433E05A32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978" y="302635"/>
            <a:ext cx="3700413" cy="956414"/>
          </a:xfrm>
          <a:prstGeom prst="rect">
            <a:avLst/>
          </a:prstGeom>
        </p:spPr>
      </p:pic>
      <p:sp>
        <p:nvSpPr>
          <p:cNvPr id="11" name="Divider">
            <a:extLst>
              <a:ext uri="{FF2B5EF4-FFF2-40B4-BE49-F238E27FC236}">
                <a16:creationId xmlns:a16="http://schemas.microsoft.com/office/drawing/2014/main" id="{0A3E5A57-48D2-4697-99EB-E84F85546391}"/>
              </a:ext>
            </a:extLst>
          </p:cNvPr>
          <p:cNvSpPr/>
          <p:nvPr userDrawn="1"/>
        </p:nvSpPr>
        <p:spPr>
          <a:xfrm flipH="1">
            <a:off x="3209921" y="368748"/>
            <a:ext cx="33917" cy="774549"/>
          </a:xfrm>
          <a:prstGeom prst="rect">
            <a:avLst/>
          </a:prstGeom>
          <a:solidFill>
            <a:schemeClr val="bg1"/>
          </a:solidFill>
          <a:ln w="1143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142" tIns="137142" rIns="137142" bIns="137142" rtlCol="0" anchor="ctr"/>
          <a:lstStyle/>
          <a:p>
            <a:pPr algn="ctr">
              <a:lnSpc>
                <a:spcPct val="90000"/>
              </a:lnSpc>
              <a:spcAft>
                <a:spcPts val="800"/>
              </a:spcAft>
            </a:pPr>
            <a:endParaRPr lang="en-US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90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ith Dark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p15="http://schemas.microsoft.com/office/powerpoint/2012/main" xmlns:p159="http://schemas.microsoft.com/office/powerpoint/2015/09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p15="http://schemas.microsoft.com/office/powerpoint/2012/main" xmlns:p159="http://schemas.microsoft.com/office/powerpoint/2015/09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80889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ct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ct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1DE7DF4-80FB-44F1-84C8-232D48CE01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C116200C-623E-4E13-B86C-8357D65B6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p15="http://schemas.microsoft.com/office/powerpoint/2012/main" xmlns:p159="http://schemas.microsoft.com/office/powerpoint/2015/09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856AED84-0D83-4550-A8C7-8CF1C4D3EA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p15="http://schemas.microsoft.com/office/powerpoint/2012/main" xmlns:p159="http://schemas.microsoft.com/office/powerpoint/2015/09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6425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08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04950"/>
            <a:ext cx="12192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92100" y="3413925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ct val="0"/>
              </a:spcBef>
              <a:buFontTx/>
              <a:buNone/>
              <a:defRPr sz="2600">
                <a:solidFill>
                  <a:schemeClr val="bg1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FontTx/>
              <a:buNone/>
              <a:defRPr sz="2000"/>
            </a:lvl2pPr>
            <a:lvl3pPr marL="0" indent="0">
              <a:spcBef>
                <a:spcPct val="0"/>
              </a:spcBef>
              <a:buFontTx/>
              <a:buNone/>
              <a:defRPr sz="2000"/>
            </a:lvl3pPr>
            <a:lvl4pPr marL="0" indent="0">
              <a:spcBef>
                <a:spcPct val="0"/>
              </a:spcBef>
              <a:buFontTx/>
              <a:buNone/>
              <a:defRPr sz="2000"/>
            </a:lvl4pPr>
            <a:lvl5pPr marL="0" indent="0">
              <a:spcBef>
                <a:spcPct val="0"/>
              </a:spcBef>
              <a:buFontTx/>
              <a:buNone/>
              <a:defRPr sz="2000"/>
            </a:lvl5pPr>
            <a:lvl6pPr marL="0" indent="0">
              <a:spcBef>
                <a:spcPct val="0"/>
              </a:spcBef>
              <a:buFontTx/>
              <a:buNone/>
              <a:defRPr sz="2000"/>
            </a:lvl6pPr>
            <a:lvl7pPr marL="0" indent="0">
              <a:spcBef>
                <a:spcPct val="0"/>
              </a:spcBef>
              <a:buFontTx/>
              <a:buNone/>
              <a:defRPr sz="2000"/>
            </a:lvl7pPr>
            <a:lvl8pPr marL="0" indent="0">
              <a:spcBef>
                <a:spcPct val="0"/>
              </a:spcBef>
              <a:buFontTx/>
              <a:buNone/>
              <a:defRPr sz="2000"/>
            </a:lvl8pPr>
            <a:lvl9pPr marL="0" indent="0">
              <a:spcBef>
                <a:spcPct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 userDrawn="1"/>
        </p:nvSpPr>
        <p:spPr>
          <a:xfrm>
            <a:off x="381000" y="325863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4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4"/>
                </a:buBlip>
              </a:pPr>
              <a:t>‹#›</a:t>
            </a:fld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6270877" y="3314045"/>
            <a:ext cx="5532325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fr-FR" sz="1500" b="0" i="0" strike="noStrike" cap="none" spc="0" baseline="0">
                <a:solidFill>
                  <a:srgbClr val="000000"/>
                </a:solidFill>
                <a:effectLst/>
                <a:latin typeface="MetricHPE"/>
                <a:ea typeface="MetricHPE"/>
                <a:cs typeface="MetricHPE"/>
              </a:rPr>
              <a:t>Veuillez utiliser une image de saut de section qui illustre bien le sujet de votre présentation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fr-FR" sz="1500" b="0" i="0" strike="noStrike" cap="none" spc="0" baseline="0">
                <a:solidFill>
                  <a:srgbClr val="000000"/>
                </a:solidFill>
                <a:effectLst/>
                <a:latin typeface="MetricHPE"/>
                <a:ea typeface="MetricHPE"/>
                <a:cs typeface="MetricHPE"/>
              </a:rPr>
              <a:t>Pour changer votre image de section, accédez à [Vue] -&gt; [Diapositive maître] pour supprimer et insérer une nouvelle image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fr-FR" sz="1500" b="0" i="0" strike="noStrike" cap="none" spc="0" baseline="0">
                <a:solidFill>
                  <a:srgbClr val="000000"/>
                </a:solidFill>
                <a:effectLst/>
                <a:latin typeface="MetricHPE"/>
                <a:ea typeface="MetricHPE"/>
                <a:cs typeface="MetricHPE"/>
              </a:rPr>
              <a:t>Un ensemble d’images spécifiquement formatées et recadrées pour servir de diapositive de titre de présentation PowerPoint est disponible </a:t>
            </a:r>
            <a:r>
              <a:rPr lang="fr-FR" sz="1500" b="0" i="0" strike="noStrike" cap="none" spc="0" baseline="0">
                <a:solidFill>
                  <a:srgbClr val="000000"/>
                </a:solidFill>
                <a:effectLst/>
                <a:latin typeface="MetricHPE"/>
                <a:ea typeface="MetricHPE"/>
                <a:cs typeface="MetricHPE"/>
                <a:hlinkClick r:id="rId5" history="0"/>
              </a:rPr>
              <a:t>ici</a:t>
            </a:r>
            <a:r>
              <a:rPr lang="fr-FR" sz="1500" b="0" i="0" strike="noStrike" cap="none" spc="0" baseline="0">
                <a:solidFill>
                  <a:srgbClr val="000000"/>
                </a:solidFill>
                <a:effectLst/>
                <a:latin typeface="MetricHPE"/>
                <a:ea typeface="MetricHPE"/>
                <a:cs typeface="MetricHPE"/>
              </a:rPr>
              <a:t> dans HPE Brand Library.</a:t>
            </a:r>
          </a:p>
          <a:p>
            <a:pPr>
              <a:lnSpc>
                <a:spcPct val="90000"/>
              </a:lnSpc>
              <a:spcAft>
                <a:spcPts val="1600"/>
              </a:spcAft>
            </a:pPr>
            <a:r>
              <a:rPr lang="fr-FR" sz="1500" b="0" i="0" strike="noStrike" cap="none" spc="0" baseline="0">
                <a:solidFill>
                  <a:srgbClr val="000000"/>
                </a:solidFill>
                <a:effectLst/>
                <a:latin typeface="MetricHPE"/>
                <a:ea typeface="MetricHPE"/>
                <a:cs typeface="MetricHPE"/>
              </a:rPr>
              <a:t>Veuillez supprimer cette case dans le masque des diapositives après avoir mis à jour votre image de titre.</a:t>
            </a:r>
          </a:p>
          <a:p>
            <a:pPr>
              <a:lnSpc>
                <a:spcPct val="90000"/>
              </a:lnSpc>
            </a:pPr>
            <a:endParaRPr lang="en-US" sz="1500">
              <a:solidFill>
                <a:schemeClr val="bg1"/>
              </a:solidFill>
              <a:latin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93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648" y="6246014"/>
            <a:ext cx="9540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ct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FontTx/>
              <a:buNone/>
              <a:defRPr sz="2000"/>
            </a:lvl2pPr>
            <a:lvl3pPr marL="0" indent="0">
              <a:spcBef>
                <a:spcPct val="0"/>
              </a:spcBef>
              <a:buFontTx/>
              <a:buNone/>
              <a:defRPr sz="2000"/>
            </a:lvl3pPr>
            <a:lvl4pPr marL="0" indent="0">
              <a:spcBef>
                <a:spcPct val="0"/>
              </a:spcBef>
              <a:buFontTx/>
              <a:buNone/>
              <a:defRPr sz="2000"/>
            </a:lvl4pPr>
            <a:lvl5pPr marL="0" indent="0">
              <a:spcBef>
                <a:spcPct val="0"/>
              </a:spcBef>
              <a:buFontTx/>
              <a:buNone/>
              <a:defRPr sz="2000"/>
            </a:lvl5pPr>
            <a:lvl6pPr marL="0" indent="0">
              <a:spcBef>
                <a:spcPct val="0"/>
              </a:spcBef>
              <a:buFontTx/>
              <a:buNone/>
              <a:defRPr sz="2000"/>
            </a:lvl6pPr>
            <a:lvl7pPr marL="0" indent="0">
              <a:spcBef>
                <a:spcPct val="0"/>
              </a:spcBef>
              <a:buFontTx/>
              <a:buNone/>
              <a:defRPr sz="2000"/>
            </a:lvl7pPr>
            <a:lvl8pPr marL="0" indent="0">
              <a:spcBef>
                <a:spcPct val="0"/>
              </a:spcBef>
              <a:buFontTx/>
              <a:buNone/>
              <a:defRPr sz="2000"/>
            </a:lvl8pPr>
            <a:lvl9pPr marL="0" indent="0">
              <a:spcBef>
                <a:spcPct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15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B607F37-173B-4A34-95FA-297523FEF6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ct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FontTx/>
              <a:buNone/>
              <a:defRPr sz="2000"/>
            </a:lvl2pPr>
            <a:lvl3pPr marL="0" indent="0">
              <a:spcBef>
                <a:spcPct val="0"/>
              </a:spcBef>
              <a:buFontTx/>
              <a:buNone/>
              <a:defRPr sz="2000"/>
            </a:lvl3pPr>
            <a:lvl4pPr marL="0" indent="0">
              <a:spcBef>
                <a:spcPct val="0"/>
              </a:spcBef>
              <a:buFontTx/>
              <a:buNone/>
              <a:defRPr sz="2000"/>
            </a:lvl4pPr>
            <a:lvl5pPr marL="0" indent="0">
              <a:spcBef>
                <a:spcPct val="0"/>
              </a:spcBef>
              <a:buFontTx/>
              <a:buNone/>
              <a:defRPr sz="2000"/>
            </a:lvl5pPr>
            <a:lvl6pPr marL="0" indent="0">
              <a:spcBef>
                <a:spcPct val="0"/>
              </a:spcBef>
              <a:buFontTx/>
              <a:buNone/>
              <a:defRPr sz="2000"/>
            </a:lvl6pPr>
            <a:lvl7pPr marL="0" indent="0">
              <a:spcBef>
                <a:spcPct val="0"/>
              </a:spcBef>
              <a:buFontTx/>
              <a:buNone/>
              <a:defRPr sz="2000"/>
            </a:lvl7pPr>
            <a:lvl8pPr marL="0" indent="0">
              <a:spcBef>
                <a:spcPct val="0"/>
              </a:spcBef>
              <a:buFontTx/>
              <a:buNone/>
              <a:defRPr sz="2000"/>
            </a:lvl8pPr>
            <a:lvl9pPr marL="0" indent="0">
              <a:spcBef>
                <a:spcPct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43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567728E-6D0A-492B-89E6-39E2244625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ct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FontTx/>
              <a:buNone/>
              <a:defRPr sz="2000"/>
            </a:lvl2pPr>
            <a:lvl3pPr marL="0" indent="0">
              <a:spcBef>
                <a:spcPct val="0"/>
              </a:spcBef>
              <a:buFontTx/>
              <a:buNone/>
              <a:defRPr sz="2000"/>
            </a:lvl3pPr>
            <a:lvl4pPr marL="0" indent="0">
              <a:spcBef>
                <a:spcPct val="0"/>
              </a:spcBef>
              <a:buFontTx/>
              <a:buNone/>
              <a:defRPr sz="2000"/>
            </a:lvl4pPr>
            <a:lvl5pPr marL="0" indent="0">
              <a:spcBef>
                <a:spcPct val="0"/>
              </a:spcBef>
              <a:buFontTx/>
              <a:buNone/>
              <a:defRPr sz="2000"/>
            </a:lvl5pPr>
            <a:lvl6pPr marL="0" indent="0">
              <a:spcBef>
                <a:spcPct val="0"/>
              </a:spcBef>
              <a:buFontTx/>
              <a:buNone/>
              <a:defRPr sz="2000"/>
            </a:lvl6pPr>
            <a:lvl7pPr marL="0" indent="0">
              <a:spcBef>
                <a:spcPct val="0"/>
              </a:spcBef>
              <a:buFontTx/>
              <a:buNone/>
              <a:defRPr sz="2000"/>
            </a:lvl7pPr>
            <a:lvl8pPr marL="0" indent="0">
              <a:spcBef>
                <a:spcPct val="0"/>
              </a:spcBef>
              <a:buFontTx/>
              <a:buNone/>
              <a:defRPr sz="2000"/>
            </a:lvl8pPr>
            <a:lvl9pPr marL="0" indent="0">
              <a:spcBef>
                <a:spcPct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340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6254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164B2CD-8FCB-4B30-B00B-A402E5693B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ct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FontTx/>
              <a:buNone/>
              <a:defRPr sz="2000"/>
            </a:lvl2pPr>
            <a:lvl3pPr marL="0" indent="0">
              <a:spcBef>
                <a:spcPct val="0"/>
              </a:spcBef>
              <a:buFontTx/>
              <a:buNone/>
              <a:defRPr sz="2000"/>
            </a:lvl3pPr>
            <a:lvl4pPr marL="0" indent="0">
              <a:spcBef>
                <a:spcPct val="0"/>
              </a:spcBef>
              <a:buFontTx/>
              <a:buNone/>
              <a:defRPr sz="2000"/>
            </a:lvl4pPr>
            <a:lvl5pPr marL="0" indent="0">
              <a:spcBef>
                <a:spcPct val="0"/>
              </a:spcBef>
              <a:buFontTx/>
              <a:buNone/>
              <a:defRPr sz="2000"/>
            </a:lvl5pPr>
            <a:lvl6pPr marL="0" indent="0">
              <a:spcBef>
                <a:spcPct val="0"/>
              </a:spcBef>
              <a:buFontTx/>
              <a:buNone/>
              <a:defRPr sz="2000"/>
            </a:lvl6pPr>
            <a:lvl7pPr marL="0" indent="0">
              <a:spcBef>
                <a:spcPct val="0"/>
              </a:spcBef>
              <a:buFontTx/>
              <a:buNone/>
              <a:defRPr sz="2000"/>
            </a:lvl7pPr>
            <a:lvl8pPr marL="0" indent="0">
              <a:spcBef>
                <a:spcPct val="0"/>
              </a:spcBef>
              <a:buFontTx/>
              <a:buNone/>
              <a:defRPr sz="2000"/>
            </a:lvl8pPr>
            <a:lvl9pPr marL="0" indent="0">
              <a:spcBef>
                <a:spcPct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404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FontTx/>
              <a:buNone/>
              <a:defRPr sz="2000"/>
            </a:lvl2pPr>
            <a:lvl3pPr marL="0" indent="0">
              <a:spcBef>
                <a:spcPct val="0"/>
              </a:spcBef>
              <a:buFontTx/>
              <a:buNone/>
              <a:defRPr sz="2000"/>
            </a:lvl3pPr>
            <a:lvl4pPr marL="0" indent="0">
              <a:spcBef>
                <a:spcPct val="0"/>
              </a:spcBef>
              <a:buFontTx/>
              <a:buNone/>
              <a:defRPr sz="2000"/>
            </a:lvl4pPr>
            <a:lvl5pPr marL="0" indent="0">
              <a:spcBef>
                <a:spcPct val="0"/>
              </a:spcBef>
              <a:buFontTx/>
              <a:buNone/>
              <a:defRPr sz="2000"/>
            </a:lvl5pPr>
            <a:lvl6pPr marL="0" indent="0">
              <a:spcBef>
                <a:spcPct val="0"/>
              </a:spcBef>
              <a:buFontTx/>
              <a:buNone/>
              <a:defRPr sz="2000"/>
            </a:lvl6pPr>
            <a:lvl7pPr marL="0" indent="0">
              <a:spcBef>
                <a:spcPct val="0"/>
              </a:spcBef>
              <a:buFontTx/>
              <a:buNone/>
              <a:defRPr sz="2000"/>
            </a:lvl7pPr>
            <a:lvl8pPr marL="0" indent="0">
              <a:spcBef>
                <a:spcPct val="0"/>
              </a:spcBef>
              <a:buFontTx/>
              <a:buNone/>
              <a:defRPr sz="2000"/>
            </a:lvl8pPr>
            <a:lvl9pPr marL="0" indent="0">
              <a:spcBef>
                <a:spcPct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651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96867C9-FAEA-4AB9-9E4F-5E469CDF0D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398" y="899032"/>
            <a:ext cx="9148360" cy="2862630"/>
          </a:xfrm>
        </p:spPr>
        <p:txBody>
          <a:bodyPr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97CBB38-1E71-4985-B7D1-ACBC191C50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FontTx/>
              <a:buNone/>
              <a:defRPr sz="260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FontTx/>
              <a:buNone/>
              <a:defRPr sz="2000"/>
            </a:lvl2pPr>
            <a:lvl3pPr marL="0" indent="0">
              <a:spcBef>
                <a:spcPct val="0"/>
              </a:spcBef>
              <a:buFontTx/>
              <a:buNone/>
              <a:defRPr sz="2000"/>
            </a:lvl3pPr>
            <a:lvl4pPr marL="0" indent="0">
              <a:spcBef>
                <a:spcPct val="0"/>
              </a:spcBef>
              <a:buFontTx/>
              <a:buNone/>
              <a:defRPr sz="2000"/>
            </a:lvl4pPr>
            <a:lvl5pPr marL="0" indent="0">
              <a:spcBef>
                <a:spcPct val="0"/>
              </a:spcBef>
              <a:buFontTx/>
              <a:buNone/>
              <a:defRPr sz="2000"/>
            </a:lvl5pPr>
            <a:lvl6pPr marL="0" indent="0">
              <a:spcBef>
                <a:spcPct val="0"/>
              </a:spcBef>
              <a:buFontTx/>
              <a:buNone/>
              <a:defRPr sz="2000"/>
            </a:lvl6pPr>
            <a:lvl7pPr marL="0" indent="0">
              <a:spcBef>
                <a:spcPct val="0"/>
              </a:spcBef>
              <a:buFontTx/>
              <a:buNone/>
              <a:defRPr sz="2000"/>
            </a:lvl7pPr>
            <a:lvl8pPr marL="0" indent="0">
              <a:spcBef>
                <a:spcPct val="0"/>
              </a:spcBef>
              <a:buFontTx/>
              <a:buNone/>
              <a:defRPr sz="2000"/>
            </a:lvl8pPr>
            <a:lvl9pPr marL="0" indent="0">
              <a:spcBef>
                <a:spcPct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14691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5096839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52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Arial"/>
              <a:buNone/>
              <a:defRPr sz="2400" baseline="0"/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1746" y="1344281"/>
            <a:ext cx="11529254" cy="4751719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391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8096" y="1733015"/>
            <a:ext cx="11522904" cy="4367541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solidFill>
                  <a:schemeClr val="bg1"/>
                </a:solidFill>
                <a:latin typeface="MetricHPE" panose="020B0503030202060203" pitchFamily="34" charset="0"/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buClrTx/>
              <a:defRPr>
                <a:solidFill>
                  <a:schemeClr val="bg1"/>
                </a:solidFill>
              </a:defRPr>
            </a:lvl7pPr>
            <a:lvl8pPr>
              <a:buClrTx/>
              <a:defRPr>
                <a:solidFill>
                  <a:schemeClr val="bg1"/>
                </a:solidFill>
              </a:defRPr>
            </a:lvl8pPr>
            <a:lvl9pPr>
              <a:buClrTx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5" y="1350296"/>
            <a:ext cx="11514137" cy="381000"/>
          </a:xfrm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anchor="ctr">
            <a:noAutofit/>
          </a:bodyPr>
          <a:lstStyle>
            <a:lvl1pPr marL="0" indent="0">
              <a:spcBef>
                <a:spcPct val="0"/>
              </a:spcBef>
              <a:buFont typeface="Arial"/>
              <a:buNone/>
              <a:defRPr sz="2400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1892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02392" y="6336077"/>
            <a:ext cx="5000464" cy="18425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687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6096000" y="6336077"/>
            <a:ext cx="5106856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37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6287008" y="995363"/>
            <a:ext cx="5523992" cy="5100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F818B02-6D3B-4B21-898C-712990E97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497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3500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292414" y="1376363"/>
            <a:ext cx="5518586" cy="4719637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97009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721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76815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1411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18" name="Rectangle 1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0277" y="1358232"/>
            <a:ext cx="5529386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6276923" y="1739233"/>
            <a:ext cx="5534077" cy="4360322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/>
            </a:lvl1pPr>
          </a:lstStyle>
          <a:p>
            <a:pPr marL="182880" lvl="0" indent="-182880">
              <a:spcBef>
                <a:spcPct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0811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8182288" y="996365"/>
            <a:ext cx="3628711" cy="5099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330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90" y="996365"/>
            <a:ext cx="363103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2832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4233288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8182290" y="1377365"/>
            <a:ext cx="3628710" cy="4718635"/>
          </a:xfrm>
          <a:ln>
            <a:noFill/>
            <a:miter lim="800000"/>
          </a:ln>
        </p:spPr>
        <p:txBody>
          <a:bodyPr lIns="91440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996365"/>
            <a:ext cx="3623985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136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8182288" y="1365166"/>
            <a:ext cx="3631039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2830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4233286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8182288" y="1746167"/>
            <a:ext cx="3628711" cy="4353388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233287" y="1365166"/>
            <a:ext cx="3623986" cy="381000"/>
          </a:xfrm>
          <a:ln>
            <a:noFill/>
            <a:miter lim="800000"/>
          </a:ln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None/>
              <a:defRPr sz="2200" b="1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t>Click to add one-line </a:t>
            </a:r>
            <a:r>
              <a:rPr lang="en-US"/>
              <a:t>heading</a:t>
            </a:r>
            <a:endParaRPr/>
          </a:p>
        </p:txBody>
      </p:sp>
      <p:sp>
        <p:nvSpPr>
          <p:cNvPr id="28" name="Rectangle 27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/>
            </a:lvl1pPr>
          </a:lstStyle>
          <a:p>
            <a:pPr marL="182880" lvl="0" indent="-182880">
              <a:spcBef>
                <a:spcPct val="0"/>
              </a:spcBef>
            </a:pPr>
            <a:r>
              <a:t>Click to add one-line subtitl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377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6670" y="1000162"/>
            <a:ext cx="7942930" cy="5095837"/>
          </a:xfrm>
          <a:ln>
            <a:noFill/>
            <a:miter lim="800000"/>
          </a:ln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53153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0796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13028" y="999674"/>
            <a:ext cx="3797971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8883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007016" y="999674"/>
            <a:ext cx="3803983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123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99712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6197180" y="999540"/>
            <a:ext cx="5619836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6471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6119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252498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41388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132692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2994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381000"/>
          </a:xfrm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None/>
              <a:defRPr sz="2200" baseline="0"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  <a:endParaRPr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096000" y="6336077"/>
            <a:ext cx="5106856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91485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p15="http://schemas.microsoft.com/office/powerpoint/2012/main" xmlns:p159="http://schemas.microsoft.com/office/powerpoint/2015/09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p14="http://schemas.microsoft.com/office/powerpoint/2010/main" xmlns:p15="http://schemas.microsoft.com/office/powerpoint/2012/main" xmlns:p159="http://schemas.microsoft.com/office/powerpoint/2015/09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9410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  <a:endParaRPr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9410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None/>
              <a:defRPr sz="320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  <a:endParaRPr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9410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ct val="0"/>
              </a:spcBef>
              <a:buNone/>
              <a:defRPr sz="2200" baseline="0">
                <a:solidFill>
                  <a:sysClr val="windowText" lastClr="000000"/>
                </a:solidFill>
                <a:latin typeface="MetricHPE" panose="020B0503030202060203" pitchFamily="34" charset="0"/>
              </a:defRPr>
            </a:lvl1pPr>
            <a:lvl2pPr marL="0" indent="0">
              <a:spcBef>
                <a:spcPct val="0"/>
              </a:spcBef>
              <a:buNone/>
              <a:defRPr sz="2400"/>
            </a:lvl2pPr>
            <a:lvl3pPr marL="0" indent="0">
              <a:spcBef>
                <a:spcPct val="0"/>
              </a:spcBef>
              <a:buNone/>
              <a:defRPr sz="2400"/>
            </a:lvl3pPr>
            <a:lvl4pPr marL="0" indent="0">
              <a:spcBef>
                <a:spcPct val="0"/>
              </a:spcBef>
              <a:buNone/>
              <a:defRPr sz="2400"/>
            </a:lvl4pPr>
            <a:lvl5pPr marL="0" indent="0">
              <a:spcBef>
                <a:spcPct val="0"/>
              </a:spcBef>
              <a:buNone/>
              <a:defRPr sz="2400"/>
            </a:lvl5pPr>
            <a:lvl6pPr marL="0" indent="0">
              <a:spcBef>
                <a:spcPct val="0"/>
              </a:spcBef>
              <a:buNone/>
              <a:defRPr sz="2400"/>
            </a:lvl6pPr>
            <a:lvl7pPr marL="0" indent="0">
              <a:spcBef>
                <a:spcPct val="0"/>
              </a:spcBef>
              <a:buNone/>
              <a:defRPr sz="2400"/>
            </a:lvl7pPr>
            <a:lvl8pPr marL="0" indent="0">
              <a:spcBef>
                <a:spcPct val="0"/>
              </a:spcBef>
              <a:buNone/>
              <a:defRPr sz="2400"/>
            </a:lvl8pPr>
            <a:lvl9pPr marL="0" indent="0">
              <a:spcBef>
                <a:spcPct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  <a:endParaRPr/>
          </a:p>
        </p:txBody>
      </p:sp>
      <p:sp>
        <p:nvSpPr>
          <p:cNvPr id="16" name="Rectangle 15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318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83369" y="1228187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318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87942"/>
            <a:ext cx="114300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7427" y="1060591"/>
            <a:ext cx="1142130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/>
            </a:lvl1pPr>
          </a:lstStyle>
          <a:p>
            <a:pPr marL="182880" lvl="0" indent="-182880">
              <a:spcBef>
                <a:spcPct val="0"/>
              </a:spcBef>
            </a:pPr>
            <a:r>
              <a:t>Click to add one-line sub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1618696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55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69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32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/>
            </a:lvl1pPr>
          </a:lstStyle>
          <a:p>
            <a:pPr marL="0" lvl="0" indent="0">
              <a:spcBef>
                <a:spcPct val="0"/>
              </a:spcBef>
              <a:buNone/>
            </a:pPr>
            <a:r>
              <a:t>Click to add</a:t>
            </a:r>
            <a:br>
              <a:rPr lang="en-US"/>
            </a:br>
            <a:r>
              <a:rPr lang="en-US"/>
              <a:t>two</a:t>
            </a:r>
            <a:r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753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58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6262777" y="6336077"/>
            <a:ext cx="4940079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49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3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3"/>
                </a:buBlip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61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7088056" y="6336077"/>
            <a:ext cx="4114800" cy="220717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r>
              <a:rPr lang="fr-FR">
                <a:solidFill>
                  <a:srgbClr val="787871"/>
                </a:solidFill>
              </a:rPr>
              <a:t>Confidentiel | Diffusion aux partenaires agréés HPE uniquement</a:t>
            </a:r>
            <a:endParaRPr lang="en-US">
              <a:solidFill>
                <a:srgbClr val="787871"/>
              </a:solidFill>
            </a:endParaRPr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02856" y="6301811"/>
            <a:ext cx="684344" cy="365125"/>
          </a:xfrm>
        </p:spPr>
        <p:txBody>
          <a:bodyPr/>
          <a:lstStyle>
            <a:lvl1pPr>
              <a:defRPr>
                <a:latin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‹#›</a:t>
            </a:fld>
            <a:endParaRPr lang="en-US">
              <a:solidFill>
                <a:srgbClr val="787871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/>
            </a:lvl1pPr>
          </a:lstStyle>
          <a:p>
            <a:pPr marL="182880" lvl="0" indent="-182880">
              <a:spcBef>
                <a:spcPct val="0"/>
              </a:spcBef>
            </a:pPr>
            <a:r>
              <a:t>Click to add one-line 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884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0263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63982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5395" y="3117272"/>
            <a:ext cx="11496766" cy="690645"/>
          </a:xfrm>
          <a:prstGeom prst="rect">
            <a:avLst/>
          </a:prstGeom>
        </p:spPr>
        <p:txBody>
          <a:bodyPr lIns="274320" tIns="274320" rIns="274320" bIns="274320" anchor="ctr" anchorCtr="0"/>
          <a:lstStyle>
            <a:lvl1pPr>
              <a:lnSpc>
                <a:spcPct val="85000"/>
              </a:lnSpc>
              <a:defRPr sz="43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75395" y="4068903"/>
            <a:ext cx="7714246" cy="439738"/>
          </a:xfrm>
          <a:prstGeom prst="rect">
            <a:avLst/>
          </a:prstGeom>
        </p:spPr>
        <p:txBody>
          <a:bodyPr lIns="274320" tIns="274320" rIns="274320" bIns="274320" anchor="ctr">
            <a:noAutofit/>
          </a:bodyPr>
          <a:lstStyle>
            <a:lvl1pPr marL="0" indent="0">
              <a:buNone/>
              <a:defRPr sz="2999"/>
            </a:lvl1pPr>
          </a:lstStyle>
          <a:p>
            <a:pPr lvl="0"/>
            <a:r>
              <a:rPr lang="en-US"/>
              <a:t>Speaker name and titl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75395" y="4544032"/>
            <a:ext cx="7714246" cy="439738"/>
          </a:xfrm>
          <a:prstGeom prst="rect">
            <a:avLst/>
          </a:prstGeom>
        </p:spPr>
        <p:txBody>
          <a:bodyPr lIns="274320" tIns="274320" rIns="274320" bIns="274320" anchor="ctr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419839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grpSp>
        <p:nvGrpSpPr>
          <p:cNvPr id="11" name="Logo"/>
          <p:cNvGrpSpPr>
            <a:grpSpLocks noChangeAspect="1"/>
          </p:cNvGrpSpPr>
          <p:nvPr userDrawn="1"/>
        </p:nvGrpSpPr>
        <p:grpSpPr>
          <a:xfrm>
            <a:off x="428803" y="352760"/>
            <a:ext cx="2328665" cy="938159"/>
            <a:chOff x="3578225" y="1146175"/>
            <a:chExt cx="5038725" cy="2111375"/>
          </a:xfrm>
        </p:grpSpPr>
        <p:sp>
          <p:nvSpPr>
            <p:cNvPr id="12" name="Element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900">
                <a:latin typeface="MetricHPE" panose="020B0503030202060203" pitchFamily="34" charset="0"/>
              </a:endParaRPr>
            </a:p>
          </p:txBody>
        </p:sp>
        <p:sp>
          <p:nvSpPr>
            <p:cNvPr id="13" name="Wordmark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900">
                <a:latin typeface="MetricHPE" panose="020B0503030202060203" pitchFamily="34" charset="0"/>
              </a:endParaRPr>
            </a:p>
          </p:txBody>
        </p:sp>
      </p:grp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5D536341-B853-4B12-8312-998D42FC0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81027" y="6286474"/>
            <a:ext cx="93911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2000" kern="1200" normalizeH="0" baseline="100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ONFIDENTIAL | AUTHORIZED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0978" y="302228"/>
            <a:ext cx="3700413" cy="956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33663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ING_SIDE_Left_CENTERED_Din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886" y="3070276"/>
            <a:ext cx="3598856" cy="701670"/>
          </a:xfrm>
          <a:prstGeom prst="rect">
            <a:avLst/>
          </a:prstGeom>
        </p:spPr>
        <p:txBody>
          <a:bodyPr anchor="ctr"/>
          <a:lstStyle>
            <a:lvl1pPr algn="l">
              <a:defRPr sz="2200" b="0" cap="all" baseline="0">
                <a:solidFill>
                  <a:schemeClr val="tx1"/>
                </a:solidFill>
                <a:latin typeface="DINPro-Bold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6673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NOUNCING_SIDE_Left_TopAnnounce_Din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886" y="2917926"/>
            <a:ext cx="3598856" cy="1006369"/>
          </a:xfrm>
          <a:prstGeom prst="rect">
            <a:avLst/>
          </a:prstGeom>
        </p:spPr>
        <p:txBody>
          <a:bodyPr anchor="ctr"/>
          <a:lstStyle>
            <a:lvl1pPr algn="l">
              <a:defRPr sz="2200" b="0" cap="all" baseline="0">
                <a:solidFill>
                  <a:schemeClr val="tx1"/>
                </a:solidFill>
                <a:latin typeface="DINPro-Regular" panose="02000503030000020004" pitchFamily="50" charset="0"/>
              </a:defRPr>
            </a:lvl1pPr>
          </a:lstStyle>
          <a:p>
            <a:r>
              <a:rPr lang="en-US"/>
              <a:t>ANNOUNCING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69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NOUNCING_SIDE_Left_Din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888" y="710861"/>
            <a:ext cx="3742698" cy="701670"/>
          </a:xfrm>
          <a:prstGeom prst="rect">
            <a:avLst/>
          </a:prstGeom>
        </p:spPr>
        <p:txBody>
          <a:bodyPr anchor="b"/>
          <a:lstStyle>
            <a:lvl1pPr algn="l">
              <a:defRPr sz="2200" b="0" cap="all" baseline="0">
                <a:solidFill>
                  <a:schemeClr val="tx1"/>
                </a:solidFill>
                <a:latin typeface="DINPro-Bold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888" y="1549400"/>
            <a:ext cx="3742698" cy="187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629"/>
              </a:spcBef>
              <a:spcAft>
                <a:spcPts val="629"/>
              </a:spcAft>
              <a:buSzPct val="100000"/>
              <a:buFontTx/>
              <a:buNone/>
              <a:defRPr sz="1200" cap="none" baseline="0">
                <a:solidFill>
                  <a:schemeClr val="tx1"/>
                </a:solidFill>
                <a:latin typeface="DINPro-Regular" panose="02000503030000020004" pitchFamily="50" charset="0"/>
              </a:defRPr>
            </a:lvl1pPr>
            <a:lvl2pPr marL="854169" indent="0">
              <a:spcAft>
                <a:spcPts val="538"/>
              </a:spcAft>
              <a:buSzPct val="100000"/>
              <a:buFontTx/>
              <a:buNone/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 marL="2050007" indent="-422324">
              <a:buSzPct val="100000"/>
              <a:buFontTx/>
              <a:buBlip>
                <a:blip r:embed="rId2"/>
              </a:buBlip>
              <a:defRPr sz="2692">
                <a:solidFill>
                  <a:schemeClr val="tx1"/>
                </a:solidFill>
              </a:defRPr>
            </a:lvl3pPr>
            <a:lvl4pPr marL="2652656" indent="-341668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 marL="3165159" indent="-341668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14520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NOUNCING_SIDE_Left_Din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889" y="710861"/>
            <a:ext cx="3925659" cy="701670"/>
          </a:xfrm>
          <a:prstGeom prst="rect">
            <a:avLst/>
          </a:prstGeom>
        </p:spPr>
        <p:txBody>
          <a:bodyPr anchor="b"/>
          <a:lstStyle>
            <a:lvl1pPr algn="l">
              <a:defRPr sz="2200" b="0" cap="all" baseline="0">
                <a:solidFill>
                  <a:schemeClr val="tx1"/>
                </a:solidFill>
                <a:latin typeface="DINPro-Bold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888" y="2041596"/>
            <a:ext cx="3742698" cy="1879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629"/>
              </a:spcBef>
              <a:spcAft>
                <a:spcPts val="629"/>
              </a:spcAft>
              <a:buSzPct val="100000"/>
              <a:buFontTx/>
              <a:buNone/>
              <a:defRPr sz="1200" cap="none" baseline="0">
                <a:solidFill>
                  <a:schemeClr val="tx1"/>
                </a:solidFill>
                <a:latin typeface="DINPro-Regular" panose="02000503030000020004" pitchFamily="50" charset="0"/>
              </a:defRPr>
            </a:lvl1pPr>
            <a:lvl2pPr marL="854169" indent="0">
              <a:spcAft>
                <a:spcPts val="538"/>
              </a:spcAft>
              <a:buSzPct val="100000"/>
              <a:buFontTx/>
              <a:buNone/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 marL="2050007" indent="-422324">
              <a:buSzPct val="100000"/>
              <a:buFontTx/>
              <a:buBlip>
                <a:blip r:embed="rId2"/>
              </a:buBlip>
              <a:defRPr sz="2692">
                <a:solidFill>
                  <a:schemeClr val="tx1"/>
                </a:solidFill>
              </a:defRPr>
            </a:lvl3pPr>
            <a:lvl4pPr marL="2652656" indent="-341668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 marL="3165159" indent="-341668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3F6521B-35CC-4451-837A-22D54A26DD6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4889" y="1446331"/>
            <a:ext cx="3249231" cy="46778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FontTx/>
              <a:buNone/>
              <a:defRPr sz="1467" cap="none" baseline="0">
                <a:solidFill>
                  <a:schemeClr val="tx1"/>
                </a:solidFill>
                <a:latin typeface="DINPro-Regular" panose="02000503030000020004" pitchFamily="50" charset="0"/>
              </a:defRPr>
            </a:lvl1pPr>
            <a:lvl2pPr marL="854171" indent="0" algn="l">
              <a:lnSpc>
                <a:spcPct val="90000"/>
              </a:lnSpc>
              <a:buFontTx/>
              <a:buNone/>
              <a:defRPr sz="2513" cap="all" baseline="0">
                <a:solidFill>
                  <a:schemeClr val="tx2"/>
                </a:solidFill>
                <a:latin typeface="DINPro-Medium" panose="02000503030000020004" pitchFamily="50" charset="0"/>
              </a:defRPr>
            </a:lvl2pPr>
            <a:lvl3pPr marL="1627681" indent="0" algn="l">
              <a:lnSpc>
                <a:spcPct val="90000"/>
              </a:lnSpc>
              <a:buFontTx/>
              <a:buNone/>
              <a:defRPr sz="2513" cap="all" baseline="0">
                <a:solidFill>
                  <a:schemeClr val="tx2"/>
                </a:solidFill>
                <a:latin typeface="DINPro-Medium" panose="02000503030000020004" pitchFamily="50" charset="0"/>
              </a:defRPr>
            </a:lvl3pPr>
            <a:lvl4pPr marL="2310989" indent="0">
              <a:buNone/>
              <a:defRPr/>
            </a:lvl4pPr>
          </a:lstStyle>
          <a:p>
            <a:pPr lvl="0"/>
            <a:r>
              <a:rPr lang="en-US"/>
              <a:t>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7002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NOUNCING_SIDE_LeftCenter_SUBTITLE_Din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891" y="2492852"/>
            <a:ext cx="3473347" cy="701670"/>
          </a:xfrm>
          <a:prstGeom prst="rect">
            <a:avLst/>
          </a:prstGeom>
        </p:spPr>
        <p:txBody>
          <a:bodyPr anchor="b"/>
          <a:lstStyle>
            <a:lvl1pPr algn="l">
              <a:defRPr sz="2200" b="0" cap="all" baseline="0">
                <a:solidFill>
                  <a:schemeClr val="tx1"/>
                </a:solidFill>
                <a:latin typeface="DINPro-Bold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888" y="3773594"/>
            <a:ext cx="3406113" cy="17022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629"/>
              </a:spcBef>
              <a:spcAft>
                <a:spcPts val="629"/>
              </a:spcAft>
              <a:buSzPct val="100000"/>
              <a:buFontTx/>
              <a:buNone/>
              <a:defRPr sz="1200" cap="none" baseline="0">
                <a:solidFill>
                  <a:schemeClr val="tx1"/>
                </a:solidFill>
                <a:latin typeface="DINPro-Regular" panose="02000503030000020004" pitchFamily="50" charset="0"/>
              </a:defRPr>
            </a:lvl1pPr>
            <a:lvl2pPr marL="854169" indent="0">
              <a:spcAft>
                <a:spcPts val="538"/>
              </a:spcAft>
              <a:buSzPct val="100000"/>
              <a:buFontTx/>
              <a:buNone/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 marL="2050007" indent="-422324">
              <a:buSzPct val="100000"/>
              <a:buFontTx/>
              <a:buBlip>
                <a:blip r:embed="rId2"/>
              </a:buBlip>
              <a:defRPr sz="2692">
                <a:solidFill>
                  <a:schemeClr val="tx1"/>
                </a:solidFill>
              </a:defRPr>
            </a:lvl3pPr>
            <a:lvl4pPr marL="2652656" indent="-341668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 marL="3165159" indent="-341668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8D2E30-18C1-4774-9040-3B648ADDBB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4888" y="3185534"/>
            <a:ext cx="3017698" cy="46778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FontTx/>
              <a:buNone/>
              <a:defRPr sz="1467" cap="none" baseline="0">
                <a:solidFill>
                  <a:schemeClr val="tx1"/>
                </a:solidFill>
                <a:latin typeface="DINPro-Regular" panose="02000503030000020004" pitchFamily="50" charset="0"/>
              </a:defRPr>
            </a:lvl1pPr>
            <a:lvl2pPr marL="854171" indent="0" algn="l">
              <a:lnSpc>
                <a:spcPct val="90000"/>
              </a:lnSpc>
              <a:buFontTx/>
              <a:buNone/>
              <a:defRPr sz="2513" cap="all" baseline="0">
                <a:solidFill>
                  <a:schemeClr val="tx2"/>
                </a:solidFill>
                <a:latin typeface="DINPro-Medium" panose="02000503030000020004" pitchFamily="50" charset="0"/>
              </a:defRPr>
            </a:lvl2pPr>
            <a:lvl3pPr marL="1627681" indent="0" algn="l">
              <a:lnSpc>
                <a:spcPct val="90000"/>
              </a:lnSpc>
              <a:buFontTx/>
              <a:buNone/>
              <a:defRPr sz="2513" cap="all" baseline="0">
                <a:solidFill>
                  <a:schemeClr val="tx2"/>
                </a:solidFill>
                <a:latin typeface="DINPro-Medium" panose="02000503030000020004" pitchFamily="50" charset="0"/>
              </a:defRPr>
            </a:lvl3pPr>
            <a:lvl4pPr marL="2310989" indent="0">
              <a:buNone/>
              <a:defRPr/>
            </a:lvl4pPr>
          </a:lstStyle>
          <a:p>
            <a:pPr lvl="0"/>
            <a:r>
              <a:rPr lang="en-US"/>
              <a:t>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20791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NOUNCING_SIDE_LeftCenter_NOSUBTITLE_Din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84889" y="2790289"/>
            <a:ext cx="3908339" cy="701670"/>
          </a:xfrm>
          <a:prstGeom prst="rect">
            <a:avLst/>
          </a:prstGeom>
        </p:spPr>
        <p:txBody>
          <a:bodyPr anchor="b"/>
          <a:lstStyle>
            <a:lvl1pPr algn="l">
              <a:defRPr sz="2200" b="0" cap="all" baseline="0">
                <a:solidFill>
                  <a:schemeClr val="tx1"/>
                </a:solidFill>
                <a:latin typeface="DINPro-Bold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84887" y="3619727"/>
            <a:ext cx="3492704" cy="170224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629"/>
              </a:spcBef>
              <a:spcAft>
                <a:spcPts val="629"/>
              </a:spcAft>
              <a:buSzPct val="100000"/>
              <a:buFontTx/>
              <a:buNone/>
              <a:defRPr sz="1200" cap="none" baseline="0">
                <a:solidFill>
                  <a:schemeClr val="tx1"/>
                </a:solidFill>
                <a:latin typeface="DINPro-Regular" panose="02000503030000020004" pitchFamily="50" charset="0"/>
              </a:defRPr>
            </a:lvl1pPr>
            <a:lvl2pPr marL="854169" indent="0">
              <a:spcAft>
                <a:spcPts val="538"/>
              </a:spcAft>
              <a:buSzPct val="100000"/>
              <a:buFontTx/>
              <a:buNone/>
              <a:defRPr>
                <a:solidFill>
                  <a:schemeClr val="bg2">
                    <a:lumMod val="50000"/>
                  </a:schemeClr>
                </a:solidFill>
              </a:defRPr>
            </a:lvl2pPr>
            <a:lvl3pPr marL="2050007" indent="-422324">
              <a:buSzPct val="100000"/>
              <a:buFontTx/>
              <a:buBlip>
                <a:blip r:embed="rId2"/>
              </a:buBlip>
              <a:defRPr sz="2692">
                <a:solidFill>
                  <a:schemeClr val="tx1"/>
                </a:solidFill>
              </a:defRPr>
            </a:lvl3pPr>
            <a:lvl4pPr marL="2652656" indent="-341668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4pPr>
            <a:lvl5pPr marL="3165159" indent="-341668">
              <a:buFontTx/>
              <a:buBlip>
                <a:blip r:embed="rId2"/>
              </a:buBlip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21089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7350" y="6052777"/>
            <a:ext cx="10017309" cy="3969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99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7348" y="442308"/>
            <a:ext cx="10015729" cy="3969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846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_SUBTITLE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C7287D93-1CC1-42BE-A9C5-6AFEDDF37F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87348" y="830315"/>
            <a:ext cx="10015729" cy="467781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90000"/>
              </a:lnSpc>
              <a:buFontTx/>
              <a:buNone/>
              <a:defRPr sz="1467" cap="none" baseline="0">
                <a:solidFill>
                  <a:schemeClr val="tx1"/>
                </a:solidFill>
                <a:latin typeface="DINPro-Regular" panose="02000503030000020004" pitchFamily="50" charset="0"/>
              </a:defRPr>
            </a:lvl1pPr>
            <a:lvl2pPr marL="854171" indent="0" algn="l">
              <a:lnSpc>
                <a:spcPct val="90000"/>
              </a:lnSpc>
              <a:buFontTx/>
              <a:buNone/>
              <a:defRPr sz="2513" cap="all" baseline="0">
                <a:solidFill>
                  <a:schemeClr val="tx2"/>
                </a:solidFill>
                <a:latin typeface="DINPro-Medium" panose="02000503030000020004" pitchFamily="50" charset="0"/>
              </a:defRPr>
            </a:lvl2pPr>
            <a:lvl3pPr marL="1627681" indent="0" algn="l">
              <a:lnSpc>
                <a:spcPct val="90000"/>
              </a:lnSpc>
              <a:buFontTx/>
              <a:buNone/>
              <a:defRPr sz="2513" cap="all" baseline="0">
                <a:solidFill>
                  <a:schemeClr val="tx2"/>
                </a:solidFill>
                <a:latin typeface="DINPro-Medium" panose="02000503030000020004" pitchFamily="50" charset="0"/>
              </a:defRPr>
            </a:lvl3pPr>
            <a:lvl4pPr marL="2310989" indent="0">
              <a:buNone/>
              <a:defRPr/>
            </a:lvl4pPr>
          </a:lstStyle>
          <a:p>
            <a:pPr lvl="0"/>
            <a:r>
              <a:rPr lang="en-US"/>
              <a:t>Edit Master Text Sty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9E1C343-FEB5-4C42-8FF0-183664749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7348" y="442308"/>
            <a:ext cx="10015729" cy="396971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326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649791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18445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A28B2A9-89D6-4CF3-BBAF-1CA0E88E14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Picture 9" descr="A picture containing text&#10;&#10;Description automatically generated">
            <a:extLst>
              <a:ext uri="{FF2B5EF4-FFF2-40B4-BE49-F238E27FC236}">
                <a16:creationId xmlns:a16="http://schemas.microsoft.com/office/drawing/2014/main" id="{9E96A302-1F38-4275-8241-37FF3CB49A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500" y="2107183"/>
            <a:ext cx="1779550" cy="1442920"/>
          </a:xfrm>
          <a:prstGeom prst="rect">
            <a:avLst/>
          </a:prstGeom>
        </p:spPr>
      </p:pic>
      <p:sp>
        <p:nvSpPr>
          <p:cNvPr id="11" name="Rectangle 4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762000" y="5527040"/>
            <a:ext cx="6461760" cy="318036"/>
          </a:xfrm>
        </p:spPr>
        <p:txBody>
          <a:bodyPr wrap="square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667"/>
              </a:spcBef>
              <a:spcAft>
                <a:spcPts val="333"/>
              </a:spcAft>
              <a:buFontTx/>
              <a:buNone/>
              <a:defRPr sz="1556" b="0">
                <a:solidFill>
                  <a:schemeClr val="tx2"/>
                </a:solidFill>
                <a:latin typeface="Trebuchet MS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05" name="Title 304"/>
          <p:cNvSpPr>
            <a:spLocks noGrp="1"/>
          </p:cNvSpPr>
          <p:nvPr userDrawn="1">
            <p:ph type="title" hasCustomPrompt="1"/>
          </p:nvPr>
        </p:nvSpPr>
        <p:spPr>
          <a:xfrm>
            <a:off x="762000" y="4470403"/>
            <a:ext cx="6461760" cy="1092061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4000" b="1" cap="all" baseline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878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 / 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3AE616-A526-467A-9354-356237D56F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7040" y="5081808"/>
            <a:ext cx="5974080" cy="1138713"/>
          </a:xfrm>
        </p:spPr>
        <p:txBody>
          <a:bodyPr anchor="b"/>
          <a:lstStyle>
            <a:lvl1pPr algn="ctr">
              <a:defRPr sz="3778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714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388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C3993E-4E43-AB37-E8AE-8C6B2A2B72AD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solidFill>
            <a:schemeClr val="bg1"/>
          </a:solidFill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E0C402F-FC68-6097-313C-C342200CA40C}"/>
              </a:ext>
            </a:extLst>
          </p:cNvPr>
          <p:cNvSpPr txBox="1"/>
          <p:nvPr userDrawn="1"/>
        </p:nvSpPr>
        <p:spPr>
          <a:xfrm>
            <a:off x="1425038" y="6210795"/>
            <a:ext cx="9393382" cy="38001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200">
                <a:solidFill>
                  <a:srgbClr val="787871"/>
                </a:solidFill>
              </a:rPr>
              <a:t>Information subject to substantial uncertainties, could change at any time without prior notification</a:t>
            </a:r>
          </a:p>
        </p:txBody>
      </p:sp>
    </p:spTree>
    <p:extLst>
      <p:ext uri="{BB962C8B-B14F-4D97-AF65-F5344CB8AC3E}">
        <p14:creationId xmlns:p14="http://schemas.microsoft.com/office/powerpoint/2010/main" val="2063658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+mn-lt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D5FF2D1-4C10-CC19-87F3-CB48BD678BB6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solidFill>
            <a:schemeClr val="bg1"/>
          </a:solidFill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0F9694-1B70-C90B-047F-50A96E6D1CB2}"/>
              </a:ext>
            </a:extLst>
          </p:cNvPr>
          <p:cNvSpPr txBox="1"/>
          <p:nvPr userDrawn="1"/>
        </p:nvSpPr>
        <p:spPr>
          <a:xfrm>
            <a:off x="1425038" y="6210795"/>
            <a:ext cx="9393382" cy="38001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200">
                <a:solidFill>
                  <a:srgbClr val="787871"/>
                </a:solidFill>
              </a:rPr>
              <a:t>Information subject to substantial uncertainties, could change at any time without prior notification</a:t>
            </a:r>
          </a:p>
        </p:txBody>
      </p:sp>
    </p:spTree>
    <p:extLst>
      <p:ext uri="{BB962C8B-B14F-4D97-AF65-F5344CB8AC3E}">
        <p14:creationId xmlns:p14="http://schemas.microsoft.com/office/powerpoint/2010/main" val="103872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2456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8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80461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+mn-lt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3794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6381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635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182299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471410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3233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8349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2018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+mn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201589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A17E6EA-AEAE-0CCE-5473-CF1625F4C1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7868" y="6255773"/>
            <a:ext cx="3116263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8404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55926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41834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91704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1607677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2"/>
                  <a:srcRect/>
                  <a:stretch>
                    <a:fillRect/>
                  </a:stretch>
                </a:blipFill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42395208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3444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4A6810CB-5525-34B9-E285-F49BD06D82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7868" y="6349780"/>
            <a:ext cx="3116263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814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1F451B-D632-6632-B931-9BA5D3C6B801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</p:spTree>
    <p:extLst>
      <p:ext uri="{BB962C8B-B14F-4D97-AF65-F5344CB8AC3E}">
        <p14:creationId xmlns:p14="http://schemas.microsoft.com/office/powerpoint/2010/main" val="139682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+mn-lt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anchor="b"/>
          <a:lstStyle>
            <a:lvl1pPr>
              <a:lnSpc>
                <a:spcPct val="85000"/>
              </a:lnSpc>
              <a:defRPr sz="4400"/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© </a:t>
            </a:r>
            <a:fld id="{DA3777BF-A1C6-4F92-A9EA-7320C98A4638}" type="datetimeyyyy">
              <a:rPr lang="en-US" sz="1200" smtClean="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pPr algn="r"/>
              <a:t>2024</a:t>
            </a:fld>
            <a:r>
              <a:rPr lang="en-US" sz="1200"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7456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schemeClr val="tx1"/>
                  </a:solidFill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400" b="1">
                  <a:solidFill>
                    <a:schemeClr val="tx1"/>
                  </a:solidFill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99548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+mn-lt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lIns="91440" tIns="91440" rIns="91440" bIns="91440" anchor="t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>
              <a:buFontTx/>
              <a:buBlip>
                <a:blip r:embed="rId2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2"/>
                </a:buBlip>
              </a:pPr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7847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93CAD8C3-F33F-43B2-A5D5-9441B69B9FA2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89696" y="387449"/>
            <a:ext cx="11421304" cy="42703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add one-line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88938" y="1018211"/>
            <a:ext cx="11422062" cy="474441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4940EF7-7566-6CA7-1892-DA97C8DB3B3C}"/>
              </a:ext>
            </a:extLst>
          </p:cNvPr>
          <p:cNvSpPr txBox="1"/>
          <p:nvPr userDrawn="1"/>
        </p:nvSpPr>
        <p:spPr>
          <a:xfrm>
            <a:off x="1425038" y="6210795"/>
            <a:ext cx="9393382" cy="38001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200">
                <a:solidFill>
                  <a:srgbClr val="787871"/>
                </a:solidFill>
              </a:rPr>
              <a:t>Information subject to substantial uncertainties, could change at any time without prior notification</a:t>
            </a:r>
          </a:p>
        </p:txBody>
      </p:sp>
    </p:spTree>
    <p:extLst>
      <p:ext uri="{BB962C8B-B14F-4D97-AF65-F5344CB8AC3E}">
        <p14:creationId xmlns:p14="http://schemas.microsoft.com/office/powerpoint/2010/main" val="197953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4782515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E9A228-4B65-47CA-A7F4-9DE56C2D3186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solidFill>
            <a:schemeClr val="bg1"/>
          </a:solidFill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D16F018-F63E-79E8-0DF7-8612C440AD5D}"/>
              </a:ext>
            </a:extLst>
          </p:cNvPr>
          <p:cNvSpPr txBox="1"/>
          <p:nvPr userDrawn="1"/>
        </p:nvSpPr>
        <p:spPr>
          <a:xfrm>
            <a:off x="1425038" y="6210795"/>
            <a:ext cx="9393382" cy="38001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200">
                <a:solidFill>
                  <a:srgbClr val="787871"/>
                </a:solidFill>
              </a:rPr>
              <a:t>Information subject to substantial uncertainties, could change at any time without prior notification</a:t>
            </a:r>
          </a:p>
        </p:txBody>
      </p:sp>
    </p:spTree>
    <p:extLst>
      <p:ext uri="{BB962C8B-B14F-4D97-AF65-F5344CB8AC3E}">
        <p14:creationId xmlns:p14="http://schemas.microsoft.com/office/powerpoint/2010/main" val="3252126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4784801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1D67E1-1E90-4142-AFD9-4A75737CC1AC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solidFill>
            <a:schemeClr val="bg1"/>
          </a:solidFill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74945C1-F04D-C90A-CD7F-7C6DD64C2F35}"/>
              </a:ext>
            </a:extLst>
          </p:cNvPr>
          <p:cNvSpPr txBox="1"/>
          <p:nvPr userDrawn="1"/>
        </p:nvSpPr>
        <p:spPr>
          <a:xfrm>
            <a:off x="1425038" y="6210795"/>
            <a:ext cx="9393382" cy="38001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200">
                <a:solidFill>
                  <a:srgbClr val="787871"/>
                </a:solidFill>
              </a:rPr>
              <a:t>Information subject to substantial uncertainties, could change at any time without prior notification</a:t>
            </a:r>
          </a:p>
        </p:txBody>
      </p:sp>
    </p:spTree>
    <p:extLst>
      <p:ext uri="{BB962C8B-B14F-4D97-AF65-F5344CB8AC3E}">
        <p14:creationId xmlns:p14="http://schemas.microsoft.com/office/powerpoint/2010/main" val="183026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85750" y="999160"/>
            <a:ext cx="11525249" cy="4772990"/>
          </a:xfrm>
        </p:spPr>
        <p:txBody>
          <a:bodyPr lIns="91440" rIns="91440"/>
          <a:lstStyle>
            <a:lvl1pPr>
              <a:buClrTx/>
              <a:defRPr>
                <a:latin typeface="MetricHPE" panose="020B0503030202060203" pitchFamily="34" charset="0"/>
              </a:defRPr>
            </a:lvl1pPr>
            <a:lvl2pPr>
              <a:buClrTx/>
              <a:defRPr>
                <a:latin typeface="MetricHPE" panose="020B0503030202060203" pitchFamily="34" charset="0"/>
              </a:defRPr>
            </a:lvl2pPr>
            <a:lvl3pPr>
              <a:buClrTx/>
              <a:defRPr>
                <a:latin typeface="MetricHPE" panose="020B0503030202060203" pitchFamily="34" charset="0"/>
              </a:defRPr>
            </a:lvl3pPr>
            <a:lvl4pPr>
              <a:buClrTx/>
              <a:defRPr>
                <a:latin typeface="MetricHPE" panose="020B0503030202060203" pitchFamily="34" charset="0"/>
              </a:defRPr>
            </a:lvl4pPr>
            <a:lvl5pPr>
              <a:buClrTx/>
              <a:defRPr>
                <a:latin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D6777B-BD74-469B-88FE-A263215413CE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solidFill>
            <a:schemeClr val="bg1"/>
          </a:solidFill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95DA29-55CF-D354-5842-27AC1AF3F106}"/>
              </a:ext>
            </a:extLst>
          </p:cNvPr>
          <p:cNvSpPr txBox="1"/>
          <p:nvPr userDrawn="1"/>
        </p:nvSpPr>
        <p:spPr>
          <a:xfrm>
            <a:off x="1425038" y="6210795"/>
            <a:ext cx="9393382" cy="38001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200">
                <a:solidFill>
                  <a:srgbClr val="787871"/>
                </a:solidFill>
              </a:rPr>
              <a:t>Information subject to substantial uncertainties, could change at any time without prior notification</a:t>
            </a:r>
          </a:p>
        </p:txBody>
      </p:sp>
    </p:spTree>
    <p:extLst>
      <p:ext uri="{BB962C8B-B14F-4D97-AF65-F5344CB8AC3E}">
        <p14:creationId xmlns:p14="http://schemas.microsoft.com/office/powerpoint/2010/main" val="180472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8163E85-048C-4DE0-9B32-F5D152A657CE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solidFill>
            <a:schemeClr val="tx1"/>
          </a:solidFill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  <p:sp>
        <p:nvSpPr>
          <p:cNvPr id="8" name="Content Placeholder">
            <a:extLst>
              <a:ext uri="{FF2B5EF4-FFF2-40B4-BE49-F238E27FC236}">
                <a16:creationId xmlns:a16="http://schemas.microsoft.com/office/drawing/2014/main" id="{65A0C7EC-4798-4728-86EA-B35780094DC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81000" y="999160"/>
            <a:ext cx="11403014" cy="4782515"/>
          </a:xfrm>
          <a:noFill/>
        </p:spPr>
        <p:txBody>
          <a:bodyPr lIns="0"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Bar"/>
          <p:cNvSpPr/>
          <p:nvPr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7073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6190A53-9E41-43E6-BB9D-7DA618C345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6190A53-9E41-43E6-BB9D-7DA618C345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vert="horz"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87376D2-6A59-4BA9-8EA0-2ACD180817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grpSp>
        <p:nvGrpSpPr>
          <p:cNvPr id="13" name="Logo">
            <a:extLst>
              <a:ext uri="{FF2B5EF4-FFF2-40B4-BE49-F238E27FC236}">
                <a16:creationId xmlns:a16="http://schemas.microsoft.com/office/drawing/2014/main" id="{C7CA71CE-C053-471F-9DCA-CD481E01A6E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4" name="Element">
              <a:extLst>
                <a:ext uri="{FF2B5EF4-FFF2-40B4-BE49-F238E27FC236}">
                  <a16:creationId xmlns:a16="http://schemas.microsoft.com/office/drawing/2014/main" id="{E3099459-FF93-42DF-AF0B-9F971EEC02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  <p:sp>
          <p:nvSpPr>
            <p:cNvPr id="20" name="Wordmark">
              <a:extLst>
                <a:ext uri="{FF2B5EF4-FFF2-40B4-BE49-F238E27FC236}">
                  <a16:creationId xmlns:a16="http://schemas.microsoft.com/office/drawing/2014/main" id="{75AF4DC2-08D7-4947-BE56-AB4767049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41259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D4728CE4-2709-0FE1-19FB-F7E7F8A4D4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48" t="65731" r="39" b="3856"/>
          <a:stretch/>
        </p:blipFill>
        <p:spPr>
          <a:xfrm rot="10800000">
            <a:off x="0" y="0"/>
            <a:ext cx="12180472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B7ECD1-28B3-4BA7-973D-0A7E0F83D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B7ECD1-28B3-4BA7-973D-0A7E0F83D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Date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284397" y="4031803"/>
            <a:ext cx="5489578" cy="339214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6" name="Subtitle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84397" y="3586908"/>
            <a:ext cx="8229600" cy="438912"/>
          </a:xfrm>
        </p:spPr>
        <p:txBody>
          <a:bodyPr lIns="91440" tIns="91440" rIns="91440" bIns="91440"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34477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84397" y="1323017"/>
            <a:ext cx="11423555" cy="1905000"/>
          </a:xfrm>
        </p:spPr>
        <p:txBody>
          <a:bodyPr vert="horz" lIns="91440" tIns="91440" rIns="91440" bIns="91440" anchor="b"/>
          <a:lstStyle>
            <a:lvl1pPr>
              <a:lnSpc>
                <a:spcPct val="80000"/>
              </a:lnSpc>
              <a:defRPr sz="4400"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DD0DBAFB-7047-4B08-B7ED-CB050B7FBB50}"/>
              </a:ext>
            </a:extLst>
          </p:cNvPr>
          <p:cNvSpPr>
            <a:spLocks noGrp="1"/>
          </p:cNvSpPr>
          <p:nvPr userDrawn="1"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Confidential | Authorized </a:t>
            </a:r>
          </a:p>
        </p:txBody>
      </p:sp>
      <p:grpSp>
        <p:nvGrpSpPr>
          <p:cNvPr id="10" name="Logo">
            <a:extLst>
              <a:ext uri="{FF2B5EF4-FFF2-40B4-BE49-F238E27FC236}">
                <a16:creationId xmlns:a16="http://schemas.microsoft.com/office/drawing/2014/main" id="{A3C61050-E60B-4FC2-8361-B75DC38392A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13" name="Element"/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  <p:sp>
          <p:nvSpPr>
            <p:cNvPr id="14" name="Wordmark"/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075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Light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EE37FB-2559-4238-B53D-42D9783F14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EE37FB-2559-4238-B53D-42D9783F14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Date"/>
          <p:cNvSpPr>
            <a:spLocks noGrp="1"/>
          </p:cNvSpPr>
          <p:nvPr>
            <p:ph type="body" sz="quarter" idx="13" hasCustomPrompt="1"/>
          </p:nvPr>
        </p:nvSpPr>
        <p:spPr>
          <a:xfrm>
            <a:off x="290747" y="4577983"/>
            <a:ext cx="5489578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Month day, year</a:t>
            </a:r>
          </a:p>
        </p:txBody>
      </p:sp>
      <p:sp>
        <p:nvSpPr>
          <p:cNvPr id="12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290747" y="4133088"/>
            <a:ext cx="82296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32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9647" y="3890957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5" name="Title"/>
          <p:cNvSpPr>
            <a:spLocks noGrp="1"/>
          </p:cNvSpPr>
          <p:nvPr>
            <p:ph type="title" hasCustomPrompt="1"/>
          </p:nvPr>
        </p:nvSpPr>
        <p:spPr>
          <a:xfrm>
            <a:off x="290747" y="1869197"/>
            <a:ext cx="11423555" cy="1905000"/>
          </a:xfrm>
        </p:spPr>
        <p:txBody>
          <a:bodyPr vert="horz" anchor="b"/>
          <a:lstStyle>
            <a:lvl1pPr>
              <a:lnSpc>
                <a:spcPct val="80000"/>
              </a:lnSpc>
              <a:defRPr sz="4400">
                <a:solidFill>
                  <a:sysClr val="windowText" lastClr="000000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4D7C280C-8E1E-4531-A635-C99FE1BDEE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374720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grpSp>
        <p:nvGrpSpPr>
          <p:cNvPr id="16" name="Logo">
            <a:extLst>
              <a:ext uri="{FF2B5EF4-FFF2-40B4-BE49-F238E27FC236}">
                <a16:creationId xmlns:a16="http://schemas.microsoft.com/office/drawing/2014/main" id="{39DC9A4F-A16F-45B4-A72C-8DB544981AE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20" name="Element">
              <a:extLst>
                <a:ext uri="{FF2B5EF4-FFF2-40B4-BE49-F238E27FC236}">
                  <a16:creationId xmlns:a16="http://schemas.microsoft.com/office/drawing/2014/main" id="{25C81DB6-CCD4-4F17-86A3-D56DF640F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  <p:sp>
          <p:nvSpPr>
            <p:cNvPr id="21" name="Wordmark">
              <a:extLst>
                <a:ext uri="{FF2B5EF4-FFF2-40B4-BE49-F238E27FC236}">
                  <a16:creationId xmlns:a16="http://schemas.microsoft.com/office/drawing/2014/main" id="{7CF9A093-3688-4D04-9331-C6E54828F9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  <a:sym typeface="MetricHPE" panose="020B050303020206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3990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EB5762A-4274-4E72-8697-194676340C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EB5762A-4274-4E72-8697-194676340C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r">
            <a:extLst>
              <a:ext uri="{FF2B5EF4-FFF2-40B4-BE49-F238E27FC236}">
                <a16:creationId xmlns:a16="http://schemas.microsoft.com/office/drawing/2014/main" id="{59513FE3-337B-42EA-8F5D-B1D6CDD0F4A0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5049E51-8DF9-4218-921D-C08199907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BFAAB4F0-B0A9-4671-AB48-BA9B5FA97F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3999" y="537152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4849EE3-6EC2-479A-93E8-35E49B7D79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3999" y="4511467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44BC743F-9EA3-4934-A5D5-4DB56D605F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3999" y="3651406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0BEDE27-A8C2-4066-B18C-F2AF9D0E86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99" y="2791345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6A40CBC-5E5F-4C0D-B831-0B04ABB23E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3999" y="1931284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">
            <a:extLst>
              <a:ext uri="{FF2B5EF4-FFF2-40B4-BE49-F238E27FC236}">
                <a16:creationId xmlns:a16="http://schemas.microsoft.com/office/drawing/2014/main" id="{6C56A94C-CC87-4EFE-A931-1D7270A842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999" y="1071223"/>
            <a:ext cx="11365200" cy="630000"/>
          </a:xfrm>
          <a:ln>
            <a:solidFill>
              <a:srgbClr val="C6C9CA"/>
            </a:solidFill>
          </a:ln>
        </p:spPr>
        <p:txBody>
          <a:bodyPr lIns="270000" rIns="270000" anchor="ctr">
            <a:normAutofit/>
          </a:bodyPr>
          <a:lstStyle>
            <a:lvl1pPr marL="0" indent="0">
              <a:buNone/>
              <a:defRPr b="1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E8F2DF7-9AD5-47AF-92C4-F9011D8150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763A2EDB-3F77-406C-9116-E786D4D6A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5007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84ADFB8-684F-4AA1-AD45-AA1B75078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84ADFB8-684F-4AA1-AD45-AA1B75078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5837C125-1DBF-4F22-925B-D8481E8BC2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</p:spPr>
        <p:txBody>
          <a:bodyPr rIns="1828800" bIns="90000" anchor="ctr"/>
          <a:lstStyle>
            <a:lvl1pPr marL="0" indent="0" algn="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D8D4E77-E0A3-4D09-ACAE-F1308CF36B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2839" y="2743510"/>
            <a:ext cx="5923811" cy="1485280"/>
          </a:xfrm>
        </p:spPr>
        <p:txBody>
          <a:bodyPr vert="horz" lIns="91440" tIns="91440" rIns="91440" bIns="91440" anchor="t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  <a:br>
              <a:rPr lang="en-US"/>
            </a:br>
            <a:r>
              <a:rPr lang="en-US"/>
              <a:t>or big idea statement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09E328-E168-4AEC-AD9B-18A4ACAAA4F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456EB42-66C6-4FC9-8A72-F78974DE848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0856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SP Agenda Section" hidden="1">
            <a:extLst>
              <a:ext uri="{FF2B5EF4-FFF2-40B4-BE49-F238E27FC236}">
                <a16:creationId xmlns:a16="http://schemas.microsoft.com/office/drawing/2014/main" id="{91D61CFA-1A29-4B89-8F49-1E216E25DD2B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2" name="Textbox">
              <a:extLst>
                <a:ext uri="{FF2B5EF4-FFF2-40B4-BE49-F238E27FC236}">
                  <a16:creationId xmlns:a16="http://schemas.microsoft.com/office/drawing/2014/main" id="{8BF45C0E-D24F-4800-98B2-20E0A3AC8C3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73" name="Textbox">
              <a:extLst>
                <a:ext uri="{FF2B5EF4-FFF2-40B4-BE49-F238E27FC236}">
                  <a16:creationId xmlns:a16="http://schemas.microsoft.com/office/drawing/2014/main" id="{B36140C3-09D5-4D3F-906D-270C63E34027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74" name="Textbox">
              <a:extLst>
                <a:ext uri="{FF2B5EF4-FFF2-40B4-BE49-F238E27FC236}">
                  <a16:creationId xmlns:a16="http://schemas.microsoft.com/office/drawing/2014/main" id="{871FFF1F-6558-47A3-B57A-1327C25BF06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75" name="Textbox">
              <a:extLst>
                <a:ext uri="{FF2B5EF4-FFF2-40B4-BE49-F238E27FC236}">
                  <a16:creationId xmlns:a16="http://schemas.microsoft.com/office/drawing/2014/main" id="{98FFC8B2-AAEA-4B46-BACD-C8587958201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76" name="Textbox">
              <a:extLst>
                <a:ext uri="{FF2B5EF4-FFF2-40B4-BE49-F238E27FC236}">
                  <a16:creationId xmlns:a16="http://schemas.microsoft.com/office/drawing/2014/main" id="{0E8F7A35-E5F6-48B1-BC2B-4D8D2886AA7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77" name="Textbox">
              <a:extLst>
                <a:ext uri="{FF2B5EF4-FFF2-40B4-BE49-F238E27FC236}">
                  <a16:creationId xmlns:a16="http://schemas.microsoft.com/office/drawing/2014/main" id="{D42D33A2-C40A-44B6-BE0C-4D7653C496B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5631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78" name="SP Agenda Subsection" hidden="1">
            <a:extLst>
              <a:ext uri="{FF2B5EF4-FFF2-40B4-BE49-F238E27FC236}">
                <a16:creationId xmlns:a16="http://schemas.microsoft.com/office/drawing/2014/main" id="{3CDEAECC-3C3D-40DC-8048-05157150AD6E}"/>
              </a:ext>
            </a:extLst>
          </p:cNvPr>
          <p:cNvGrpSpPr>
            <a:grpSpLocks/>
          </p:cNvGrpSpPr>
          <p:nvPr userDrawn="1"/>
        </p:nvGrpSpPr>
        <p:grpSpPr>
          <a:xfrm>
            <a:off x="381000" y="4096092"/>
            <a:ext cx="10080000" cy="369332"/>
            <a:chOff x="1797664" y="2085631"/>
            <a:chExt cx="5940745" cy="369332"/>
          </a:xfrm>
        </p:grpSpPr>
        <p:sp>
          <p:nvSpPr>
            <p:cNvPr id="79" name="Textbox">
              <a:extLst>
                <a:ext uri="{FF2B5EF4-FFF2-40B4-BE49-F238E27FC236}">
                  <a16:creationId xmlns:a16="http://schemas.microsoft.com/office/drawing/2014/main" id="{584D4FFB-892A-49C8-973F-893B258E19B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140025" y="2085631"/>
              <a:ext cx="5598384" cy="369332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3600" b="1">
                  <a:solidFill>
                    <a:schemeClr val="tx1"/>
                  </a:solidFill>
                </a:rPr>
                <a:t>&lt;TEXT&gt;</a:t>
              </a:r>
            </a:p>
          </p:txBody>
        </p:sp>
        <p:sp>
          <p:nvSpPr>
            <p:cNvPr id="80" name="Textbox">
              <a:extLst>
                <a:ext uri="{FF2B5EF4-FFF2-40B4-BE49-F238E27FC236}">
                  <a16:creationId xmlns:a16="http://schemas.microsoft.com/office/drawing/2014/main" id="{BB144044-4B4E-495D-8D8D-9D01BCCA9A2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3600" b="1">
                  <a:solidFill>
                    <a:schemeClr val="tx1"/>
                  </a:solidFill>
                </a:rPr>
                <a:t>&lt;N&gt;</a:t>
              </a:r>
            </a:p>
          </p:txBody>
        </p:sp>
        <p:sp>
          <p:nvSpPr>
            <p:cNvPr id="81" name="Textbox">
              <a:extLst>
                <a:ext uri="{FF2B5EF4-FFF2-40B4-BE49-F238E27FC236}">
                  <a16:creationId xmlns:a16="http://schemas.microsoft.com/office/drawing/2014/main" id="{72849E41-8C22-4F28-A058-02BC25DF49B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000" b="1">
                  <a:solidFill>
                    <a:schemeClr val="bg1"/>
                  </a:solidFill>
                </a:rPr>
                <a:t>&lt;P&gt;</a:t>
              </a:r>
            </a:p>
          </p:txBody>
        </p:sp>
        <p:sp>
          <p:nvSpPr>
            <p:cNvPr id="82" name="Textbox">
              <a:extLst>
                <a:ext uri="{FF2B5EF4-FFF2-40B4-BE49-F238E27FC236}">
                  <a16:creationId xmlns:a16="http://schemas.microsoft.com/office/drawing/2014/main" id="{CA1BEB0B-B88B-4782-BF66-3BC90122CA1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TIMESLOT&gt;</a:t>
              </a:r>
            </a:p>
          </p:txBody>
        </p:sp>
        <p:sp>
          <p:nvSpPr>
            <p:cNvPr id="83" name="Textbox">
              <a:extLst>
                <a:ext uri="{FF2B5EF4-FFF2-40B4-BE49-F238E27FC236}">
                  <a16:creationId xmlns:a16="http://schemas.microsoft.com/office/drawing/2014/main" id="{2488CE60-C0C7-4375-8E28-316DE55D3DE1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RESPONSIBLE&gt;</a:t>
              </a:r>
            </a:p>
          </p:txBody>
        </p:sp>
        <p:sp>
          <p:nvSpPr>
            <p:cNvPr id="84" name="Textbox">
              <a:extLst>
                <a:ext uri="{FF2B5EF4-FFF2-40B4-BE49-F238E27FC236}">
                  <a16:creationId xmlns:a16="http://schemas.microsoft.com/office/drawing/2014/main" id="{FDCF7982-797D-46DB-BA8C-F96B93FBBFA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912263" y="2086339"/>
              <a:ext cx="0" cy="0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l"/>
              <a:r>
                <a:rPr lang="en-US" sz="1000" b="1">
                  <a:solidFill>
                    <a:schemeClr val="bg1"/>
                  </a:solidFill>
                </a:rPr>
                <a:t>&lt;DURATION&gt;</a:t>
              </a:r>
            </a:p>
          </p:txBody>
        </p:sp>
      </p:grpSp>
      <p:sp>
        <p:nvSpPr>
          <p:cNvPr id="2" name="Bar">
            <a:extLst>
              <a:ext uri="{FF2B5EF4-FFF2-40B4-BE49-F238E27FC236}">
                <a16:creationId xmlns:a16="http://schemas.microsoft.com/office/drawing/2014/main" id="{3108468E-5FE0-4E62-37D8-42C13E547987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A42EC109-AF5C-2F10-3C49-322F9C407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D5C2A10-5B41-A15E-7963-D2C7A543D4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02856" y="6301811"/>
            <a:ext cx="684344" cy="365125"/>
          </a:xfrm>
        </p:spPr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9D0F35-442E-B199-40C9-FFF31FE239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609610" y="6129337"/>
            <a:ext cx="2593246" cy="411581"/>
          </a:xfrm>
        </p:spPr>
        <p:txBody>
          <a:bodyPr/>
          <a:lstStyle>
            <a:lvl1pPr>
              <a:defRPr>
                <a:solidFill>
                  <a:srgbClr val="808285"/>
                </a:solidFill>
              </a:defRPr>
            </a:lvl1pPr>
          </a:lstStyle>
          <a:p>
            <a:r>
              <a:rPr lang="en-US"/>
              <a:t>Confidential | HPE Internal Use On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9DE016-BAAB-8DE6-35DE-07DBFACA1EFE}"/>
              </a:ext>
            </a:extLst>
          </p:cNvPr>
          <p:cNvSpPr txBox="1"/>
          <p:nvPr userDrawn="1"/>
        </p:nvSpPr>
        <p:spPr>
          <a:xfrm>
            <a:off x="197309" y="5761504"/>
            <a:ext cx="11526928" cy="436885"/>
          </a:xfrm>
          <a:prstGeom prst="rect">
            <a:avLst/>
          </a:prstGeom>
          <a:solidFill>
            <a:schemeClr val="bg1"/>
          </a:solidFill>
          <a:ln w="57150">
            <a:noFill/>
            <a:miter lim="800000"/>
          </a:ln>
        </p:spPr>
        <p:txBody>
          <a:bodyPr wrap="none" lIns="182880" tIns="182880" rIns="182880" bIns="182880" rtlCol="0">
            <a:no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</a:pPr>
            <a:r>
              <a:rPr lang="en-US" sz="1400">
                <a:solidFill>
                  <a:srgbClr val="787871"/>
                </a:solidFill>
                <a:latin typeface="MetricHPE Light" panose="020B0303030202060203" pitchFamily="34" charset="0"/>
              </a:rPr>
              <a:t>HPE CONFIDENTIAL, NDA REQUIRED  |  AUTHORIZED HPE PARTNER AND HPE NDA CUSTOMER USE ONLY  |  DO NOT LEAVE BEHIND  |  EXPIRES  12/15/2022 </a:t>
            </a:r>
          </a:p>
        </p:txBody>
      </p:sp>
    </p:spTree>
    <p:extLst>
      <p:ext uri="{BB962C8B-B14F-4D97-AF65-F5344CB8AC3E}">
        <p14:creationId xmlns:p14="http://schemas.microsoft.com/office/powerpoint/2010/main" val="3768208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CEA4730-05E9-413E-A59C-914E0C3662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CEA4730-05E9-413E-A59C-914E0C366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65053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74272F-602D-4192-BC54-B2645BC73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74272F-602D-4192-BC54-B2645BC734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">
            <a:extLst>
              <a:ext uri="{FF2B5EF4-FFF2-40B4-BE49-F238E27FC236}">
                <a16:creationId xmlns:a16="http://schemas.microsoft.com/office/drawing/2014/main" id="{B6844C8B-60DD-4EDB-AF8B-41A6695EFCF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CE5726B-4E9B-428F-B8BF-52038F1B0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0B94C82C-D24B-4532-B992-AD884CD16A9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B49B78C-62D9-4CBC-82AE-117CC49AA73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524236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Blu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849DD0-CD9F-43B4-BC22-9490F93AC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849DD0-CD9F-43B4-BC22-9490F93AC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">
            <a:extLst>
              <a:ext uri="{FF2B5EF4-FFF2-40B4-BE49-F238E27FC236}">
                <a16:creationId xmlns:a16="http://schemas.microsoft.com/office/drawing/2014/main" id="{71441D17-F569-4929-BED2-B3C594D2EB1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52C54A16-447D-4A74-9122-F46E4BC750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9926132-14B5-462D-8011-DBD07D3A4F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698795D-6546-4F01-AD74-FF78AF2E677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3270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6C4D275-D9D2-4194-9F32-64D652B008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6C4D275-D9D2-4194-9F32-64D652B00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">
            <a:extLst>
              <a:ext uri="{FF2B5EF4-FFF2-40B4-BE49-F238E27FC236}">
                <a16:creationId xmlns:a16="http://schemas.microsoft.com/office/drawing/2014/main" id="{EE3E2CEF-B9DC-4BC7-912D-0AF3140E0B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0CC7B28-F85E-49B0-A5ED-82D39FF68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vert="horz" lIns="91440" tIns="91440" rIns="91440" bIns="91440" anchor="b" anchorCtr="0"/>
          <a:lstStyle>
            <a:lvl1pPr>
              <a:defRPr sz="3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452CF67-7C64-4A36-818E-9739F15599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E686EF5-477F-4DCE-824F-3C05B5AA659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551242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B457EDA-0A28-4849-BD37-266565E6D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B457EDA-0A28-4849-BD37-266565E6D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Name, title, company"/>
          <p:cNvSpPr>
            <a:spLocks noGrp="1"/>
          </p:cNvSpPr>
          <p:nvPr>
            <p:ph type="body" sz="quarter" idx="14" hasCustomPrompt="1"/>
          </p:nvPr>
        </p:nvSpPr>
        <p:spPr>
          <a:xfrm>
            <a:off x="512997" y="3989508"/>
            <a:ext cx="8228011" cy="533400"/>
          </a:xfrm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add quoted person’s name, title, company</a:t>
            </a:r>
          </a:p>
        </p:txBody>
      </p:sp>
      <p:sp>
        <p:nvSpPr>
          <p:cNvPr id="11" name="Quote"/>
          <p:cNvSpPr>
            <a:spLocks noGrp="1"/>
          </p:cNvSpPr>
          <p:nvPr>
            <p:ph type="title" hasCustomPrompt="1"/>
          </p:nvPr>
        </p:nvSpPr>
        <p:spPr>
          <a:xfrm>
            <a:off x="284398" y="685800"/>
            <a:ext cx="9106250" cy="3075861"/>
          </a:xfrm>
        </p:spPr>
        <p:txBody>
          <a:bodyPr vert="horz" lIns="91440" anchor="b" anchorCtr="0"/>
          <a:lstStyle>
            <a:lvl1pPr marL="219456" indent="-219456">
              <a:defRPr sz="4600" cap="none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“Click to add quote here. Type quotation marks before and after text.”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6E5649-B5F3-4893-ACEE-FDDDEA277D6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C9133F1-6679-476E-AEFD-931027BED08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0576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B08AFA-0746-4D41-942A-DD08BF385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B08AFA-0746-4D41-942A-DD08BF385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3" name="Slide Number Placeholder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88F2DF35-63BF-460F-A215-8F5110C2F7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599" y="998681"/>
            <a:ext cx="11404800" cy="50976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32753FE-5D9A-4A5E-B0B2-3DAAE2EB3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1079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5E8DFD-A232-4615-95C8-3553E04E8D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5E8DFD-A232-4615-95C8-3553E04E8D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A3BBDD58-9EEC-48BC-A84C-F80FB78CB21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1000" y="1344281"/>
            <a:ext cx="11403014" cy="47520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02268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Font typeface="" panose="020B0604020202020204" pitchFamily="34" charset="0"/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670D9BB8-8D8D-4F83-B418-E1A6910A3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8A2B8FB-372C-42B9-B280-9D39EC303B0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2026B78-68E1-478D-8813-92F76EAC82C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1883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1DAC38-CABC-40E4-BF53-10DB44E26F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1DAC38-CABC-40E4-BF53-10DB44E26F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">
            <a:extLst>
              <a:ext uri="{FF2B5EF4-FFF2-40B4-BE49-F238E27FC236}">
                <a16:creationId xmlns:a16="http://schemas.microsoft.com/office/drawing/2014/main" id="{D60021C6-A6F0-40F0-A299-B8269BE0F49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81000" y="1733015"/>
            <a:ext cx="11403014" cy="4366800"/>
          </a:xfrm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Heading"/>
          <p:cNvSpPr>
            <a:spLocks noGrp="1"/>
          </p:cNvSpPr>
          <p:nvPr>
            <p:ph type="body" sz="quarter" idx="18" hasCustomPrompt="1"/>
          </p:nvPr>
        </p:nvSpPr>
        <p:spPr>
          <a:xfrm>
            <a:off x="288096" y="1350296"/>
            <a:ext cx="1149591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15C04D0B-D5E2-4F74-B1D6-45E2AEA840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5918" cy="38100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 typeface="" panose="020B0604020202020204" pitchFamily="34" charset="0"/>
              <a:buNone/>
              <a:defRPr sz="24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D09EDB93-5BF6-4D1D-9D5F-0E75F455E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2" y="391852"/>
            <a:ext cx="11498271" cy="401362"/>
          </a:xfr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D217CA8-FB11-4E4A-BBCD-EE7B837F4D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EA3E28B-F7AC-49D0-8E77-F09CC76C6D4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55927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8CCBAEC-80EE-4CF5-8E38-137E1601D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8CCBAEC-80EE-4CF5-8E38-137E1601DA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sz="quarter" idx="18"/>
          </p:nvPr>
        </p:nvSpPr>
        <p:spPr>
          <a:xfrm>
            <a:off x="6260021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5363"/>
            <a:ext cx="5523992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871CBF7C-DC48-4FC0-9D75-AE2A7B709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30D71586-CC8D-433E-9833-9A7FDB8D82E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C5C9A9-E236-4C76-AAB8-D575E2980D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677693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0FECCF4-5B08-4D07-983D-6DCE5C9852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0FECCF4-5B08-4D07-983D-6DCE5C9852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1000" y="1358232"/>
            <a:ext cx="5416903" cy="47377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208FD370-F534-4533-9D1C-D71C0301D4F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B9DB588-CD3A-4605-99DD-5D58A033446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75181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Edge to Ed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solidFill>
            <a:schemeClr val="tx1"/>
          </a:solidFill>
        </p:spPr>
        <p:txBody>
          <a:bodyPr rIns="90000" bIns="360000" anchor="b"/>
          <a:lstStyle>
            <a:lvl1pPr marL="0" indent="0" algn="ct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1414463" y="685801"/>
            <a:ext cx="9363075" cy="5480050"/>
          </a:xfrm>
        </p:spPr>
        <p:txBody>
          <a:bodyPr lIns="91440" tIns="91440" rIns="91440" bIns="91440" anchor="ctr" anchorCtr="0"/>
          <a:lstStyle>
            <a:lvl1pPr algn="ct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</p:spTree>
    <p:extLst>
      <p:ext uri="{BB962C8B-B14F-4D97-AF65-F5344CB8AC3E}">
        <p14:creationId xmlns:p14="http://schemas.microsoft.com/office/powerpoint/2010/main" val="2919235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3CC6A5-EED9-4BE6-9BB2-1B5B2BA3AB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3CC6A5-EED9-4BE6-9BB2-1B5B2BA3AB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384003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88095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6356308" y="1376363"/>
            <a:ext cx="5418000" cy="4719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60400" y="995363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246014"/>
            <a:ext cx="9540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3A8584B-E718-4F58-9AF1-BDBF5AD7FF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375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BACB20F-6AB9-4717-9714-122FD81AD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BACB20F-6AB9-4717-9714-122FD81AD8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C2D9C38D-0C96-4F06-9088-13547C056F3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358729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Heading 2">
            <a:extLst>
              <a:ext uri="{FF2B5EF4-FFF2-40B4-BE49-F238E27FC236}">
                <a16:creationId xmlns:a16="http://schemas.microsoft.com/office/drawing/2014/main" id="{0F35A58C-1284-494F-A5A7-A8680CA322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61641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1" name="Content Placeholder 1">
            <a:extLst>
              <a:ext uri="{FF2B5EF4-FFF2-40B4-BE49-F238E27FC236}">
                <a16:creationId xmlns:a16="http://schemas.microsoft.com/office/drawing/2014/main" id="{790CE829-C5DB-4D0F-8D68-9F31A94FC42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85100" y="1739233"/>
            <a:ext cx="5416903" cy="435673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4FFD9C8F-5583-4BD3-BF48-097D5D045AD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8095" y="1358232"/>
            <a:ext cx="5513908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E367876-B551-4115-B469-74C12D0C1CE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3803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B4DC083-771D-42FC-A297-31FED0158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12F31EAB-796D-4E98-AD02-5E448046BB3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9B4ABF0-738F-478F-B9E7-E5D3DF83666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93174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69A4C04-A3EA-46DA-BB45-CDB216DA32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69A4C04-A3EA-46DA-BB45-CDB216DA3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3"/>
          <p:cNvSpPr>
            <a:spLocks noGrp="1"/>
          </p:cNvSpPr>
          <p:nvPr>
            <p:ph sz="quarter" idx="19"/>
          </p:nvPr>
        </p:nvSpPr>
        <p:spPr>
          <a:xfrm>
            <a:off x="8152474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8"/>
          </p:nvPr>
        </p:nvSpPr>
        <p:spPr>
          <a:xfrm>
            <a:off x="4268787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996365"/>
            <a:ext cx="3628711" cy="5099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C09279-0D09-4109-A953-16A88732F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5DFA194-46E5-48DD-9DF0-CE09ECBDE59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BEED058A-E779-4D88-ADD2-9B84C2A105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0805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F3F2B0-772A-445A-8335-AA9D2FA1E7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F3F2B0-772A-445A-8335-AA9D2FA1E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365166"/>
            <a:ext cx="3628710" cy="473439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365166"/>
            <a:ext cx="3628710" cy="4734000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64F2FF0-0CF5-4CC1-8878-96534C54D9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749AAC13-0724-4F89-9282-2A985E0669E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56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C416F85-2B34-4AE4-95D6-BF9CFB412A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C416F85-2B34-4AE4-95D6-BF9CFB412A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Content Placeholder 3"/>
          <p:cNvSpPr>
            <a:spLocks noGrp="1"/>
          </p:cNvSpPr>
          <p:nvPr>
            <p:ph sz="quarter" idx="22"/>
          </p:nvPr>
        </p:nvSpPr>
        <p:spPr>
          <a:xfrm>
            <a:off x="8146122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Heading 3"/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sz="quarter" idx="18"/>
          </p:nvPr>
        </p:nvSpPr>
        <p:spPr>
          <a:xfrm>
            <a:off x="4265611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Heading 2"/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996365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4" name="Content Placeholder 1"/>
          <p:cNvSpPr>
            <a:spLocks noGrp="1"/>
          </p:cNvSpPr>
          <p:nvPr>
            <p:ph sz="quarter" idx="17"/>
          </p:nvPr>
        </p:nvSpPr>
        <p:spPr>
          <a:xfrm>
            <a:off x="385100" y="1377365"/>
            <a:ext cx="3628710" cy="4718635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Heading 1"/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996365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6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24EE87AE-0267-4C69-AFD6-F9C64969AC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BB8A07BF-CB97-4E22-9C06-99A9D26C8199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833D610-4CA4-41A3-B735-6F0642F9854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694056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1B370A-5B7E-451E-A6E7-C98EEEED58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1B370A-5B7E-451E-A6E7-C98EEEED58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ntent Placeholder 3">
            <a:extLst>
              <a:ext uri="{FF2B5EF4-FFF2-40B4-BE49-F238E27FC236}">
                <a16:creationId xmlns:a16="http://schemas.microsoft.com/office/drawing/2014/main" id="{1074A59D-DDE4-4FB2-838A-D5C8E7AD19E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46122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Heading 3">
            <a:extLst>
              <a:ext uri="{FF2B5EF4-FFF2-40B4-BE49-F238E27FC236}">
                <a16:creationId xmlns:a16="http://schemas.microsoft.com/office/drawing/2014/main" id="{2B395F8D-D2D6-46E9-A9E6-236C365E0BE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48832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F2DA2588-EB78-4045-A57D-317AA672516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65611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Heading 2">
            <a:extLst>
              <a:ext uri="{FF2B5EF4-FFF2-40B4-BE49-F238E27FC236}">
                <a16:creationId xmlns:a16="http://schemas.microsoft.com/office/drawing/2014/main" id="{1E3C34FD-66F2-429D-BA98-17802C5C837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8321" y="1365166"/>
            <a:ext cx="3726000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1336B0C-F91E-47D8-936F-836334818CB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85100" y="1747514"/>
            <a:ext cx="3628710" cy="4352042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Heading 1">
            <a:extLst>
              <a:ext uri="{FF2B5EF4-FFF2-40B4-BE49-F238E27FC236}">
                <a16:creationId xmlns:a16="http://schemas.microsoft.com/office/drawing/2014/main" id="{2C5A79F9-54A7-42C3-958C-707025A7513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7427" y="1365166"/>
            <a:ext cx="3726383" cy="381000"/>
          </a:xfrm>
          <a:ln>
            <a:noFill/>
            <a:miter lim="800000"/>
          </a:ln>
        </p:spPr>
        <p:txBody>
          <a:bodyPr lIns="91440">
            <a:noAutofit/>
          </a:bodyPr>
          <a:lstStyle>
            <a:lvl1pPr marL="0" indent="0">
              <a:spcBef>
                <a:spcPts val="0"/>
              </a:spcBef>
              <a:buNone/>
              <a:defRPr sz="2200" b="1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Click to add one-line heading</a:t>
            </a:r>
          </a:p>
        </p:txBody>
      </p:sp>
      <p:sp>
        <p:nvSpPr>
          <p:cNvPr id="28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C831EBB5-21C4-4F56-9D7F-EDB7844B96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498270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9EF0ECA-DE60-41FE-A905-507AB710EE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F0756C0-7641-4173-A68F-865597D4BB0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221C879-23BF-48A0-9B6C-5B66C3419755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5985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2AF6AB5-2EAF-44EB-8180-4EBE0A12EB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2AF6AB5-2EAF-44EB-8180-4EBE0A12E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EAE54251-B0D2-4947-83BB-BD7F95F3A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287B217-2E30-4712-99AE-652EEDB044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4EA22A1-FE1F-4F4A-9C07-F0E86D67EF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11100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D9B7F5-5935-49D2-BFB9-4DD1D6CF03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CD9B7F5-5935-49D2-BFB9-4DD1D6CF0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">
            <a:extLst>
              <a:ext uri="{FF2B5EF4-FFF2-40B4-BE49-F238E27FC236}">
                <a16:creationId xmlns:a16="http://schemas.microsoft.com/office/drawing/2014/main" id="{71AE6212-DACF-49FB-929D-2FA8B00CFD7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704332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118949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0391D03-EF6B-45A2-9268-5A807C7A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8B57979-9B2D-4984-B19E-0EFD2E111CE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A02681C-9BC6-4D8A-BB6B-D65D1A03959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5D205E8-4781-754B-85B3-64F4104C83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7868" y="6330094"/>
            <a:ext cx="3116263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418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415DDE-BCB7-402A-83EE-E821146D73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1415DDE-BCB7-402A-83EE-E821146D7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r">
            <a:extLst>
              <a:ext uri="{FF2B5EF4-FFF2-40B4-BE49-F238E27FC236}">
                <a16:creationId xmlns:a16="http://schemas.microsoft.com/office/drawing/2014/main" id="{8EF5646D-2EB2-41E1-98F7-8AFF5323E04E}"/>
              </a:ext>
            </a:extLst>
          </p:cNvPr>
          <p:cNvSpPr/>
          <p:nvPr userDrawn="1"/>
        </p:nvSpPr>
        <p:spPr>
          <a:xfrm>
            <a:off x="385100" y="124748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7764AC2A-714D-48E6-8850-2398C74A59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EBA2B6B1-8B85-4F7A-B1B8-3C2A2CA72C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F6172FFC-9966-4FB3-B3D2-FBE84B0190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93557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48E36D-1791-497B-8B45-6161FB44ED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48E36D-1791-497B-8B45-6161FB44ED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ubtitle">
            <a:extLst>
              <a:ext uri="{FF2B5EF4-FFF2-40B4-BE49-F238E27FC236}">
                <a16:creationId xmlns:a16="http://schemas.microsoft.com/office/drawing/2014/main" id="{6957406C-CA6F-47F8-9FC9-A15BE313C41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1746" y="1178166"/>
            <a:ext cx="11529254" cy="381000"/>
          </a:xfrm>
        </p:spPr>
        <p:txBody>
          <a:bodyPr vert="horz" lIns="91440" tIns="91440" rIns="91440" bIns="91440" rtlCol="0" anchor="ctr">
            <a:noAutofit/>
          </a:bodyPr>
          <a:lstStyle>
            <a:lvl1pPr marL="0" indent="0">
              <a:buNone/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182880" lvl="0" indent="-182880">
              <a:spcBef>
                <a:spcPts val="0"/>
              </a:spcBef>
            </a:pPr>
            <a:r>
              <a:rPr lang="en-US"/>
              <a:t>Click to add one-line subtitle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371489F8-FD72-440E-84EC-51D4A768BB5E}"/>
              </a:ext>
            </a:extLst>
          </p:cNvPr>
          <p:cNvSpPr/>
          <p:nvPr userDrawn="1"/>
        </p:nvSpPr>
        <p:spPr>
          <a:xfrm>
            <a:off x="385100" y="1663329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2" name="Title">
            <a:extLst>
              <a:ext uri="{FF2B5EF4-FFF2-40B4-BE49-F238E27FC236}">
                <a16:creationId xmlns:a16="http://schemas.microsoft.com/office/drawing/2014/main" id="{5535819F-7681-4776-AE9B-BEAB22E80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9123" y="398368"/>
            <a:ext cx="11494890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Two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903090B-018E-41F6-821A-0DB185B167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4EE71AD2-3B17-4BBC-A780-3AEAE01E74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6718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3B62DF6E-A83A-4117-A2ED-B4864BA8330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504950"/>
            <a:ext cx="12192000" cy="3295651"/>
          </a:xfrm>
          <a:solidFill>
            <a:schemeClr val="tx1"/>
          </a:solidFill>
        </p:spPr>
        <p:txBody>
          <a:bodyPr rIns="1828800" bIns="90000" anchor="ctr"/>
          <a:lstStyle>
            <a:lvl1pPr marL="0" indent="0" algn="r">
              <a:buNone/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Picture placeholder</a:t>
            </a:r>
          </a:p>
        </p:txBody>
      </p:sp>
      <p:sp>
        <p:nvSpPr>
          <p:cNvPr id="11" name="Subtitle"/>
          <p:cNvSpPr>
            <a:spLocks noGrp="1"/>
          </p:cNvSpPr>
          <p:nvPr>
            <p:ph type="body" sz="quarter" idx="14"/>
          </p:nvPr>
        </p:nvSpPr>
        <p:spPr>
          <a:xfrm>
            <a:off x="292100" y="3258636"/>
            <a:ext cx="8228011" cy="53340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"/>
          <p:cNvSpPr>
            <a:spLocks noGrp="1"/>
          </p:cNvSpPr>
          <p:nvPr>
            <p:ph type="title" hasCustomPrompt="1"/>
          </p:nvPr>
        </p:nvSpPr>
        <p:spPr>
          <a:xfrm>
            <a:off x="292101" y="2686713"/>
            <a:ext cx="8522208" cy="499365"/>
          </a:xfrm>
        </p:spPr>
        <p:txBody>
          <a:bodyPr lIns="91440" tIns="91440" rIns="91440" bIns="91440" anchor="b" anchorCtr="0"/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C8CDE3DB-5BD1-43F6-94A6-D47A00235D7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EEEF92A3-A948-430A-BA72-93EBB9877D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070299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79774FC-F55C-4DFC-ADB6-18E420907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79774FC-F55C-4DFC-ADB6-18E420907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2676894"/>
            <a:ext cx="3685309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2818CA98-330E-4FE7-B6FF-632E311233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F90604F-7FA1-41D8-9914-866F330503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64271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D7FB032-5C39-4FF8-8FE8-B730EC7CCE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D7FB032-5C39-4FF8-8FE8-B730EC7CC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2676894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92DC03DA-1907-4E05-9BC8-1056217131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DB2C94F6-2456-49E7-A85E-744A4B16A88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83493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4E0B40D-5357-45FF-9FB8-FCEFDD888C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4E0B40D-5357-45FF-9FB8-FCEFDD888C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3616182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0" name="Text Placeholder"/>
          <p:cNvSpPr>
            <a:spLocks noGrp="1"/>
          </p:cNvSpPr>
          <p:nvPr>
            <p:ph type="body" sz="quarter" idx="14" hasCustomPrompt="1"/>
          </p:nvPr>
        </p:nvSpPr>
        <p:spPr>
          <a:xfrm>
            <a:off x="289122" y="2691855"/>
            <a:ext cx="3566206" cy="795528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sz="2400" baseline="0" dirty="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marL="0" lvl="0" indent="0">
              <a:spcBef>
                <a:spcPts val="0"/>
              </a:spcBef>
              <a:buNone/>
            </a:pPr>
            <a:r>
              <a:rPr lang="en-US"/>
              <a:t>Click to add</a:t>
            </a:r>
            <a:br>
              <a:rPr lang="en-US"/>
            </a:br>
            <a:r>
              <a:rPr lang="en-US"/>
              <a:t>two-line subtitle</a:t>
            </a: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</p:nvPr>
        </p:nvSpPr>
        <p:spPr>
          <a:xfrm>
            <a:off x="289122" y="1980879"/>
            <a:ext cx="3566206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2D12F7D-5A80-4CB3-A519-0EC3099CAB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77D698-96B1-4B1C-AC10-E28AA67073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94284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460974-2E49-479B-8B56-14195E778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460974-2E49-479B-8B56-14195E7788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ntent Placeholder"/>
          <p:cNvSpPr>
            <a:spLocks noGrp="1"/>
          </p:cNvSpPr>
          <p:nvPr>
            <p:ph sz="quarter" idx="13"/>
          </p:nvPr>
        </p:nvSpPr>
        <p:spPr>
          <a:xfrm>
            <a:off x="4076700" y="331788"/>
            <a:ext cx="7734300" cy="5764212"/>
          </a:xfrm>
        </p:spPr>
        <p:txBody>
          <a:bodyPr anchor="ctr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2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3" y="1417320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F37736B1-D7A7-4407-BE85-C3B77D9DE3F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C2633DB1-4E58-49AF-9CC5-F4480459AE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95046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cture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8A375B-118A-4C0B-A008-CE8167BAEA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8A375B-118A-4C0B-A008-CE8167BAEA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">
            <a:extLst>
              <a:ext uri="{FF2B5EF4-FFF2-40B4-BE49-F238E27FC236}">
                <a16:creationId xmlns:a16="http://schemas.microsoft.com/office/drawing/2014/main" id="{685C0DB9-A0DF-42B9-B705-83944EECB34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76700" y="0"/>
            <a:ext cx="8115300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edge-to-edge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4"/>
          </p:nvPr>
        </p:nvSpPr>
        <p:spPr>
          <a:xfrm>
            <a:off x="278731" y="2534960"/>
            <a:ext cx="3546475" cy="3446462"/>
          </a:xfrm>
        </p:spPr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Bar"/>
          <p:cNvSpPr/>
          <p:nvPr userDrawn="1"/>
        </p:nvSpPr>
        <p:spPr>
          <a:xfrm>
            <a:off x="385100" y="2356608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89122" y="1417320"/>
            <a:ext cx="3536373" cy="868680"/>
          </a:xfrm>
        </p:spPr>
        <p:txBody>
          <a:bodyPr vert="horz" anchor="b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</a:t>
            </a:r>
            <a:br>
              <a:rPr lang="en-US"/>
            </a:br>
            <a:r>
              <a:rPr lang="en-US"/>
              <a:t>multi-Line Title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8085FE46-B145-48DA-84CC-BEC7ABB0F6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62B249EC-9477-452C-91FB-A412BD37EF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32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CC563F0-C3B9-4B28-9B1C-8DD505A079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CC563F0-C3B9-4B28-9B1C-8DD505A07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2" name="Content Placeholder">
            <a:extLst>
              <a:ext uri="{FF2B5EF4-FFF2-40B4-BE49-F238E27FC236}">
                <a16:creationId xmlns:a16="http://schemas.microsoft.com/office/drawing/2014/main" id="{269A3E8D-DCFB-4D37-86BB-56632B0912B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85100" y="995363"/>
            <a:ext cx="7844500" cy="5100637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37FCC12E-6D90-403E-80FA-0F7CB28A28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1E92FAC-B699-43F5-B87D-2D8B714080E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C38747A7-25DE-48D8-8D31-0F3DF66ADF9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36268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F0C7905-C50D-4479-A459-3E98126B58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F0C7905-C50D-4479-A459-3E98126B58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8526166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4192215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107DCD-8E78-467B-8556-CF6A8FC3D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C107DCD-8E78-467B-8556-CF6A8FC3D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85743" y="999674"/>
            <a:ext cx="3257847" cy="5096326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900"/>
              </a:spcBef>
              <a:buNone/>
              <a:defRPr sz="22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supporting text</a:t>
            </a:r>
          </a:p>
          <a:p>
            <a:pPr lvl="0"/>
            <a:endParaRPr lang="en-US"/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4313365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C5722C60-FC76-4A73-9A5C-0D547B644D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8A295B4-CD29-4A4B-B08E-9A6CC4F4CF8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B8558E5-A9EE-4418-B017-3EBC0B35FAB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41939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96DD28D-6BE5-4E79-90A1-9269E81D4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96DD28D-6BE5-4E79-90A1-9269E81D4F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84DB124-5DB1-4AD3-9276-D81D2209D17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515445" y="999540"/>
            <a:ext cx="3257847" cy="5100531"/>
          </a:xfrm>
          <a:ln>
            <a:noFill/>
            <a:miter lim="800000"/>
          </a:ln>
        </p:spPr>
        <p:txBody>
          <a:bodyPr lIns="0" rIns="0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4pPr>
            <a:lvl5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7470648" cy="509646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0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4B1C1C31-7119-4D9E-8DED-87033B4B0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6B8E13A3-BC15-450D-96D1-EB785D605BB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191AA25E-ECBD-44CD-9DE9-F058616E77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95157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477547-A011-41BB-9219-72EBC5149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1477547-A011-41BB-9219-72EBC5149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6172895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11EEBA4-9351-4C42-9CB1-BC966ADFAF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2725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6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1000" y="4925740"/>
            <a:ext cx="5611118" cy="1170260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7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61128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0F79D366-784C-495D-8F64-93E8B37FC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</p:spPr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833220B8-73BB-42A1-AE6B-0898C72176B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278F3E4F-3B9E-412C-A6C9-621D3C25AA9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917048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"/>
          <p:cNvSpPr>
            <a:spLocks noGrp="1"/>
          </p:cNvSpPr>
          <p:nvPr>
            <p:ph type="body" sz="quarter" idx="14"/>
          </p:nvPr>
        </p:nvSpPr>
        <p:spPr>
          <a:xfrm>
            <a:off x="288994" y="2871000"/>
            <a:ext cx="8522208" cy="2735980"/>
          </a:xfrm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600">
                <a:latin typeface="+mn-lt"/>
              </a:defRPr>
            </a:lvl1pPr>
            <a:lvl2pPr marL="0" indent="0">
              <a:spcBef>
                <a:spcPts val="0"/>
              </a:spcBef>
              <a:buFontTx/>
              <a:buNone/>
              <a:defRPr sz="2000"/>
            </a:lvl2pPr>
            <a:lvl3pPr marL="0" indent="0">
              <a:spcBef>
                <a:spcPts val="0"/>
              </a:spcBef>
              <a:buFontTx/>
              <a:buNone/>
              <a:defRPr sz="2000"/>
            </a:lvl3pPr>
            <a:lvl4pPr marL="0" indent="0">
              <a:spcBef>
                <a:spcPts val="0"/>
              </a:spcBef>
              <a:buFontTx/>
              <a:buNone/>
              <a:defRPr sz="2000"/>
            </a:lvl4pPr>
            <a:lvl5pPr marL="0" indent="0">
              <a:spcBef>
                <a:spcPts val="0"/>
              </a:spcBef>
              <a:buFontTx/>
              <a:buNone/>
              <a:defRPr sz="2000"/>
            </a:lvl5pPr>
            <a:lvl6pPr marL="0" indent="0">
              <a:spcBef>
                <a:spcPts val="0"/>
              </a:spcBef>
              <a:buFontTx/>
              <a:buNone/>
              <a:defRPr sz="2000"/>
            </a:lvl6pPr>
            <a:lvl7pPr marL="0" indent="0">
              <a:spcBef>
                <a:spcPts val="0"/>
              </a:spcBef>
              <a:buFontTx/>
              <a:buNone/>
              <a:defRPr sz="2000"/>
            </a:lvl7pPr>
            <a:lvl8pPr marL="0" indent="0">
              <a:spcBef>
                <a:spcPts val="0"/>
              </a:spcBef>
              <a:buFontTx/>
              <a:buNone/>
              <a:defRPr sz="2000"/>
            </a:lvl8pPr>
            <a:lvl9pPr marL="0" indent="0">
              <a:spcBef>
                <a:spcPts val="0"/>
              </a:spcBef>
              <a:buFontTx/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Bar"/>
          <p:cNvSpPr/>
          <p:nvPr userDrawn="1"/>
        </p:nvSpPr>
        <p:spPr>
          <a:xfrm>
            <a:off x="377894" y="2716146"/>
            <a:ext cx="8522208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latin typeface="MetricHPE" panose="020B0503030202060203" pitchFamily="34" charset="-18"/>
            </a:endParaRPr>
          </a:p>
        </p:txBody>
      </p:sp>
      <p:sp>
        <p:nvSpPr>
          <p:cNvPr id="16" name="Title"/>
          <p:cNvSpPr>
            <a:spLocks noGrp="1"/>
          </p:cNvSpPr>
          <p:nvPr>
            <p:ph type="title" hasCustomPrompt="1"/>
          </p:nvPr>
        </p:nvSpPr>
        <p:spPr>
          <a:xfrm>
            <a:off x="288995" y="685800"/>
            <a:ext cx="8522208" cy="1957353"/>
          </a:xfrm>
        </p:spPr>
        <p:txBody>
          <a:bodyPr lIns="91440" tIns="91440" rIns="91440" bIns="91440" anchor="b" anchorCtr="0"/>
          <a:lstStyle>
            <a:lvl1pPr>
              <a:defRPr sz="3200" baseline="0"/>
            </a:lvl1pPr>
          </a:lstStyle>
          <a:p>
            <a:r>
              <a:rPr lang="en-US"/>
              <a:t>Click to add section header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B699D1C6-DBB0-43D0-BC06-19A6E62C198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CAA7B61-F2C7-43C9-A11F-B48C4ED2EBC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721696" y="6129337"/>
            <a:ext cx="7481160" cy="411581"/>
          </a:xfrm>
        </p:spPr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78951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F710E9-8B82-475E-9524-D1FFCB009F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F710E9-8B82-475E-9524-D1FFCB009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8105705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239004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8" name="Text Placeholder 1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389696" y="4925740"/>
            <a:ext cx="3678308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900"/>
              </a:spcBef>
              <a:buNone/>
              <a:defRPr sz="180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add caption</a:t>
            </a:r>
          </a:p>
          <a:p>
            <a:pPr lvl="0"/>
            <a:endParaRPr lang="en-US"/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3678308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261228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F2FAA-5188-48CD-88F5-10F71041EA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F2FAA-5188-48CD-88F5-10F71041E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45BD124-6171-43C5-8405-25101FA6FBF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994740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Bar 3">
            <a:extLst>
              <a:ext uri="{FF2B5EF4-FFF2-40B4-BE49-F238E27FC236}">
                <a16:creationId xmlns:a16="http://schemas.microsoft.com/office/drawing/2014/main" id="{42FA215D-0B81-4E67-9714-4DF602504A3A}"/>
              </a:ext>
            </a:extLst>
          </p:cNvPr>
          <p:cNvSpPr/>
          <p:nvPr userDrawn="1"/>
        </p:nvSpPr>
        <p:spPr>
          <a:xfrm>
            <a:off x="8097009" y="4258726"/>
            <a:ext cx="3679200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8097009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4239004" y="4258726"/>
            <a:ext cx="36792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136735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239004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3780577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36792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9" name="Picture Placeholder 1"/>
          <p:cNvSpPr>
            <a:spLocks noGrp="1"/>
          </p:cNvSpPr>
          <p:nvPr>
            <p:ph type="pic" sz="quarter" idx="18" hasCustomPrompt="1"/>
          </p:nvPr>
        </p:nvSpPr>
        <p:spPr>
          <a:xfrm>
            <a:off x="379447" y="999540"/>
            <a:ext cx="3678308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1539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13A1EFD-C471-4A96-AF59-4EDB28B8A7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13A1EFD-C471-4A96-AF59-4EDB28B8A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ar"/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58DA0A33-9CC4-4DCC-85C5-5D814DA5F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95E78B5B-38D0-4241-B1F6-380820ADBD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DD820592-1C1F-4092-94E5-D39D7CA0940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A3D17EC-2963-45F0-9DC4-19C039BA810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096001" y="4310712"/>
            <a:ext cx="5688012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Bar 2">
            <a:extLst>
              <a:ext uri="{FF2B5EF4-FFF2-40B4-BE49-F238E27FC236}">
                <a16:creationId xmlns:a16="http://schemas.microsoft.com/office/drawing/2014/main" id="{0D8D023B-EF10-400C-BF2B-43E4924E8642}"/>
              </a:ext>
            </a:extLst>
          </p:cNvPr>
          <p:cNvSpPr/>
          <p:nvPr userDrawn="1"/>
        </p:nvSpPr>
        <p:spPr>
          <a:xfrm>
            <a:off x="6222013" y="4258726"/>
            <a:ext cx="5562000" cy="5486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FE93BF0-E1B7-4E00-B095-E182346B5D7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22013" y="985963"/>
            <a:ext cx="5562000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F3BA045-26B3-4E52-9906-6D3BA87876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8731" y="4310712"/>
            <a:ext cx="5661163" cy="1855138"/>
          </a:xfrm>
        </p:spPr>
        <p:txBody>
          <a:bodyPr/>
          <a:lstStyle>
            <a:lvl1pPr marL="0" indent="0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Bar 1">
            <a:extLst>
              <a:ext uri="{FF2B5EF4-FFF2-40B4-BE49-F238E27FC236}">
                <a16:creationId xmlns:a16="http://schemas.microsoft.com/office/drawing/2014/main" id="{A6732A66-F432-4DBF-9D12-1CD6789335F1}"/>
              </a:ext>
            </a:extLst>
          </p:cNvPr>
          <p:cNvSpPr/>
          <p:nvPr userDrawn="1"/>
        </p:nvSpPr>
        <p:spPr>
          <a:xfrm>
            <a:off x="377894" y="4258726"/>
            <a:ext cx="5562000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21" name="Picture Placeholder 1">
            <a:extLst>
              <a:ext uri="{FF2B5EF4-FFF2-40B4-BE49-F238E27FC236}">
                <a16:creationId xmlns:a16="http://schemas.microsoft.com/office/drawing/2014/main" id="{D48EE7C4-611A-445E-A636-05C3A89474E9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81000" y="999540"/>
            <a:ext cx="5562600" cy="3132000"/>
          </a:xfrm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3862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dge-To-Edg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75DE491-3AC8-4C49-9804-56C0A4B899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75DE491-3AC8-4C49-9804-56C0A4B899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2000" cy="6858000"/>
          </a:xfrm>
          <a:ln>
            <a:noFill/>
            <a:miter lim="800000"/>
          </a:ln>
        </p:spPr>
        <p:txBody>
          <a:bodyPr anchor="ctr"/>
          <a:lstStyle>
            <a:lvl1pPr marL="0" indent="0" algn="ctr">
              <a:buNone/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06739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Single 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8A5BEE-2D34-4035-A7FB-F52BD3CB25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8A5BEE-2D34-4035-A7FB-F52BD3CB25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ctr">
              <a:lnSpc>
                <a:spcPct val="75000"/>
              </a:lnSpc>
              <a:defRPr sz="17000">
                <a:blipFill dpi="0" rotWithShape="1">
                  <a:blip r:embed="rId5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Single line</a:t>
            </a:r>
          </a:p>
        </p:txBody>
      </p:sp>
    </p:spTree>
    <p:extLst>
      <p:ext uri="{BB962C8B-B14F-4D97-AF65-F5344CB8AC3E}">
        <p14:creationId xmlns:p14="http://schemas.microsoft.com/office/powerpoint/2010/main" val="6081033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pe As Art, Multiple Lin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DAB4387-3D65-460C-BCA2-B34BAA379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DAB4387-3D65-460C-BCA2-B34BAA379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E308CDED-96CC-443C-B3E3-675A1C4732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685800"/>
            <a:ext cx="11430001" cy="551757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rmAutofit/>
          </a:bodyPr>
          <a:lstStyle>
            <a:lvl1pPr algn="l">
              <a:lnSpc>
                <a:spcPct val="65000"/>
              </a:lnSpc>
              <a:defRPr sz="12500">
                <a:blipFill dpi="0" rotWithShape="1">
                  <a:blip r:embed="rId5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Multiple </a:t>
            </a:r>
            <a:br>
              <a:rPr lang="en-US"/>
            </a:br>
            <a:r>
              <a:rPr lang="en-US"/>
              <a:t>lines </a:t>
            </a:r>
          </a:p>
        </p:txBody>
      </p:sp>
    </p:spTree>
    <p:extLst>
      <p:ext uri="{BB962C8B-B14F-4D97-AF65-F5344CB8AC3E}">
        <p14:creationId xmlns:p14="http://schemas.microsoft.com/office/powerpoint/2010/main" val="2364032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A697E9B-698E-4136-A99A-FAAA557BF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A697E9B-698E-4136-A99A-FAAA557BF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855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1695718-0EA1-43B9-8E13-34C7A693D1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1695718-0EA1-43B9-8E13-34C7A693D1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5202D382-F177-4EDD-9E63-D410F58B207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5D5BB30E-8FED-4853-AD8A-7BB93B3FF17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174299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E9D982-4BA2-4C28-A5DF-8AADBD9B5B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E9D982-4BA2-4C28-A5DF-8AADBD9B5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">
            <a:extLst>
              <a:ext uri="{FF2B5EF4-FFF2-40B4-BE49-F238E27FC236}">
                <a16:creationId xmlns:a16="http://schemas.microsoft.com/office/drawing/2014/main" id="{6BDD934D-C46A-42E7-82F9-E43F9A3604D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3442" y="3528820"/>
            <a:ext cx="11517557" cy="205511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200" baseline="0"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2400"/>
            </a:lvl2pPr>
            <a:lvl3pPr marL="0" indent="0">
              <a:spcBef>
                <a:spcPts val="0"/>
              </a:spcBef>
              <a:buNone/>
              <a:defRPr sz="2400"/>
            </a:lvl3pPr>
            <a:lvl4pPr marL="0" indent="0">
              <a:spcBef>
                <a:spcPts val="0"/>
              </a:spcBef>
              <a:buNone/>
              <a:defRPr sz="2400"/>
            </a:lvl4pPr>
            <a:lvl5pPr marL="0" indent="0">
              <a:spcBef>
                <a:spcPts val="0"/>
              </a:spcBef>
              <a:buNone/>
              <a:defRPr sz="2400"/>
            </a:lvl5pPr>
            <a:lvl6pPr marL="0" indent="0">
              <a:spcBef>
                <a:spcPts val="0"/>
              </a:spcBef>
              <a:buNone/>
              <a:defRPr sz="2400"/>
            </a:lvl6pPr>
            <a:lvl7pPr marL="0" indent="0">
              <a:spcBef>
                <a:spcPts val="0"/>
              </a:spcBef>
              <a:buNone/>
              <a:defRPr sz="2400"/>
            </a:lvl7pPr>
            <a:lvl8pPr marL="0" indent="0">
              <a:spcBef>
                <a:spcPts val="0"/>
              </a:spcBef>
              <a:buNone/>
              <a:defRPr sz="2400"/>
            </a:lvl8pPr>
            <a:lvl9pPr marL="0" indent="0">
              <a:spcBef>
                <a:spcPts val="0"/>
              </a:spcBef>
              <a:buNone/>
              <a:defRPr sz="2400"/>
            </a:lvl9pPr>
          </a:lstStyle>
          <a:p>
            <a:pPr lvl="0"/>
            <a:r>
              <a:rPr lang="en-US"/>
              <a:t>Speaker contact information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62127D76-909D-4C18-BB52-4DDB379ACAE3}"/>
              </a:ext>
            </a:extLst>
          </p:cNvPr>
          <p:cNvSpPr/>
          <p:nvPr userDrawn="1"/>
        </p:nvSpPr>
        <p:spPr>
          <a:xfrm>
            <a:off x="381000" y="3374136"/>
            <a:ext cx="530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B56764AC-9C6B-4C1D-BE2B-C4E8A087CA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749" y="521016"/>
            <a:ext cx="6195700" cy="2828660"/>
          </a:xfrm>
        </p:spPr>
        <p:txBody>
          <a:bodyPr vert="horz" anchor="b"/>
          <a:lstStyle>
            <a:lvl1pPr>
              <a:lnSpc>
                <a:spcPct val="85000"/>
              </a:lnSpc>
              <a:defRPr sz="4400"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Click to add thank you message</a:t>
            </a:r>
          </a:p>
        </p:txBody>
      </p:sp>
      <p:sp>
        <p:nvSpPr>
          <p:cNvPr id="13" name="Footer Placeholder">
            <a:extLst>
              <a:ext uri="{FF2B5EF4-FFF2-40B4-BE49-F238E27FC236}">
                <a16:creationId xmlns:a16="http://schemas.microsoft.com/office/drawing/2014/main" id="{B08835D9-51EC-4CAD-A07F-93C2FF4161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4720" y="5923546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720469-4E8E-4F55-96D3-10560B47177B}"/>
              </a:ext>
            </a:extLst>
          </p:cNvPr>
          <p:cNvSpPr txBox="1"/>
          <p:nvPr userDrawn="1"/>
        </p:nvSpPr>
        <p:spPr>
          <a:xfrm>
            <a:off x="8115300" y="6335127"/>
            <a:ext cx="3740580" cy="2769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algn="r"/>
            <a:r>
              <a:rPr lang="en-US" sz="120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t>© </a:t>
            </a:r>
            <a:fld id="{DA3777BF-A1C6-4F92-A9EA-7320C98A4638}" type="datetimeyyyy">
              <a:rPr lang="en-US" sz="1200" smtClean="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pPr algn="r"/>
              <a:t>2024</a:t>
            </a:fld>
            <a:r>
              <a:rPr lang="en-US" sz="1200">
                <a:solidFill>
                  <a:prstClr val="black"/>
                </a:solidFill>
                <a:ea typeface="Times New Roman" panose="02020603050405020304" pitchFamily="18" charset="0"/>
                <a:cs typeface="Times New Roman" panose="02020603050405020304" pitchFamily="18" charset="0"/>
                <a:sym typeface="MetricHPE" panose="020B0503030202060203" pitchFamily="34" charset="0"/>
              </a:rPr>
              <a:t>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342777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 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3339F5-46CF-4FB8-B687-A3B0B2A0B4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3339F5-46CF-4FB8-B687-A3B0B2A0B4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SP Agenda Notice" hidden="1"/>
          <p:cNvSpPr>
            <a:spLocks noGrp="1"/>
          </p:cNvSpPr>
          <p:nvPr>
            <p:ph sz="quarter" idx="13" hasCustomPrompt="1"/>
          </p:nvPr>
        </p:nvSpPr>
        <p:spPr>
          <a:xfrm>
            <a:off x="12344400" y="48315"/>
            <a:ext cx="3103200" cy="0"/>
          </a:xfrm>
          <a:prstGeom prst="rect">
            <a:avLst/>
          </a:prstGeom>
          <a:solidFill>
            <a:schemeClr val="accent2"/>
          </a:solidFill>
        </p:spPr>
        <p:txBody>
          <a:bodyPr>
            <a:noAutofit/>
          </a:bodyPr>
          <a:lstStyle>
            <a:lvl1pPr marL="0" indent="0">
              <a:buFontTx/>
              <a:buNone/>
              <a:defRPr sz="800" b="0" i="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  <a:lvl2pPr marL="172641" marR="0" indent="-171450" algn="l" defTabSz="6845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800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noProof="0"/>
              <a:t>This is the </a:t>
            </a:r>
            <a:r>
              <a:rPr lang="en-US" noProof="0" err="1"/>
              <a:t>SlideProof</a:t>
            </a:r>
            <a:r>
              <a:rPr lang="en-US" noProof="0"/>
              <a:t> Agenda Layout</a:t>
            </a:r>
          </a:p>
          <a:p>
            <a:pPr lvl="0"/>
            <a:r>
              <a:rPr lang="en-US" noProof="0"/>
              <a:t>http://www.veodin.com/slideproof/manual/agenda/</a:t>
            </a:r>
          </a:p>
          <a:p>
            <a:pPr lvl="0"/>
            <a:r>
              <a:rPr lang="en-US" noProof="0"/>
              <a:t>Use the Selection Pane (Alt+F10) to make the hidden shapes of the Agenda visible. Make sure you group them again after editing and rename them with </a:t>
            </a:r>
            <a:r>
              <a:rPr lang="en-US" noProof="0" err="1"/>
              <a:t>SlideProof</a:t>
            </a:r>
            <a:r>
              <a:rPr lang="en-US" noProof="0"/>
              <a:t> &gt; Agenda &gt; Rename Agenda Groups</a:t>
            </a:r>
          </a:p>
          <a:p>
            <a:pPr lvl="0"/>
            <a:r>
              <a:rPr lang="en-US" noProof="0"/>
              <a:t>Expected group name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Section - Mandatory</a:t>
            </a:r>
          </a:p>
          <a:p>
            <a:pPr lvl="1"/>
            <a:r>
              <a:rPr lang="en-US" noProof="0"/>
              <a:t>SP Agenda Section Highlight - Highlight the current section</a:t>
            </a:r>
          </a:p>
          <a:p>
            <a:pPr lvl="1"/>
            <a:r>
              <a:rPr lang="en-US" noProof="0"/>
              <a:t>SP Agenda Subsection - Mandatory if showing subsections</a:t>
            </a:r>
          </a:p>
          <a:p>
            <a:pPr lvl="1"/>
            <a:r>
              <a:rPr lang="en-US" noProof="0"/>
              <a:t>SP Agenda Subsection Highlight - Highlight the current subsection</a:t>
            </a:r>
          </a:p>
          <a:p>
            <a:pPr lvl="0"/>
            <a:r>
              <a:rPr lang="en-US" noProof="0"/>
              <a:t>Any shapes or images inside the groups will appear on the agenda pages. This notice (SP Agenda Notice) will not appear on the agenda pages.</a:t>
            </a:r>
          </a:p>
          <a:p>
            <a:pPr lvl="0"/>
            <a:r>
              <a:rPr lang="en-US" noProof="0"/>
              <a:t>Valid text placeholders are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ection number:</a:t>
            </a:r>
          </a:p>
          <a:p>
            <a:pPr lvl="1"/>
            <a:r>
              <a:rPr lang="en-US" noProof="0"/>
              <a:t>&lt;N&gt; for Arabic number 1, 2, 3</a:t>
            </a:r>
          </a:p>
          <a:p>
            <a:pPr lvl="1"/>
            <a:r>
              <a:rPr lang="en-US" noProof="0"/>
              <a:t>&lt;R&gt; for Roman numeral I, II, III</a:t>
            </a:r>
          </a:p>
          <a:p>
            <a:pPr lvl="1"/>
            <a:r>
              <a:rPr lang="en-US" noProof="0"/>
              <a:t>&lt;RL&gt; for lower-case Roman numeral </a:t>
            </a:r>
            <a:r>
              <a:rPr lang="en-US" noProof="0" err="1"/>
              <a:t>i</a:t>
            </a:r>
            <a:r>
              <a:rPr lang="en-US" noProof="0"/>
              <a:t>, ii, iii</a:t>
            </a:r>
          </a:p>
          <a:p>
            <a:pPr lvl="1"/>
            <a:r>
              <a:rPr lang="en-US" noProof="0"/>
              <a:t>&lt;A&gt; for alphabetic character A, B, C</a:t>
            </a:r>
          </a:p>
          <a:p>
            <a:pPr lvl="1"/>
            <a:r>
              <a:rPr lang="en-US" noProof="0"/>
              <a:t>&lt;AL&gt; for lower-case Alphabetic character</a:t>
            </a:r>
          </a:p>
          <a:p>
            <a:pPr lvl="1"/>
            <a:r>
              <a:rPr lang="en-US" noProof="0"/>
              <a:t>&lt;TEXT&gt;</a:t>
            </a:r>
          </a:p>
          <a:p>
            <a:pPr lvl="1"/>
            <a:r>
              <a:rPr lang="en-US" noProof="0"/>
              <a:t>&lt;RESPONSIBLE&gt;</a:t>
            </a:r>
          </a:p>
          <a:p>
            <a:pPr lvl="1"/>
            <a:r>
              <a:rPr lang="en-US" noProof="0"/>
              <a:t>&lt;TIMESLOT&gt;</a:t>
            </a:r>
          </a:p>
          <a:p>
            <a:pPr lvl="1"/>
            <a:r>
              <a:rPr lang="en-US" noProof="0"/>
              <a:t>&lt;DURATION&gt; for duration</a:t>
            </a:r>
          </a:p>
          <a:p>
            <a:pPr lvl="1"/>
            <a:r>
              <a:rPr lang="en-US" noProof="0"/>
              <a:t>&lt;P&gt; for page number</a:t>
            </a:r>
          </a:p>
          <a:p>
            <a:pPr lvl="0"/>
            <a:r>
              <a:rPr lang="en-US" noProof="0"/>
              <a:t>If you want the agenda to be vertically centered on each Agenda slide, rename this layout to:</a:t>
            </a:r>
          </a:p>
          <a:p>
            <a:pPr lvl="1"/>
            <a:endParaRPr lang="en-US" noProof="0"/>
          </a:p>
          <a:p>
            <a:pPr lvl="1"/>
            <a:r>
              <a:rPr lang="en-US" noProof="0"/>
              <a:t>SP Agenda Vertical</a:t>
            </a:r>
          </a:p>
        </p:txBody>
      </p:sp>
      <p:grpSp>
        <p:nvGrpSpPr>
          <p:cNvPr id="3" name="SP Agenda Section" hidden="1"/>
          <p:cNvGrpSpPr/>
          <p:nvPr userDrawn="1"/>
        </p:nvGrpSpPr>
        <p:grpSpPr>
          <a:xfrm>
            <a:off x="385100" y="2085631"/>
            <a:ext cx="8657275" cy="369332"/>
            <a:chOff x="1797664" y="2085631"/>
            <a:chExt cx="8657274" cy="369332"/>
          </a:xfrm>
        </p:grpSpPr>
        <p:sp>
          <p:nvSpPr>
            <p:cNvPr id="20" name="Textbox"/>
            <p:cNvSpPr txBox="1">
              <a:spLocks/>
            </p:cNvSpPr>
            <p:nvPr userDrawn="1"/>
          </p:nvSpPr>
          <p:spPr>
            <a:xfrm>
              <a:off x="2267220" y="2085631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21" name="Textbox"/>
            <p:cNvSpPr txBox="1">
              <a:spLocks/>
            </p:cNvSpPr>
            <p:nvPr userDrawn="1"/>
          </p:nvSpPr>
          <p:spPr>
            <a:xfrm>
              <a:off x="1797664" y="208563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22" name="Textbox"/>
            <p:cNvSpPr txBox="1">
              <a:spLocks/>
            </p:cNvSpPr>
            <p:nvPr userDrawn="1"/>
          </p:nvSpPr>
          <p:spPr>
            <a:xfrm>
              <a:off x="9817944" y="208563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24" name="Textbox"/>
            <p:cNvSpPr txBox="1">
              <a:spLocks/>
            </p:cNvSpPr>
            <p:nvPr userDrawn="1"/>
          </p:nvSpPr>
          <p:spPr>
            <a:xfrm>
              <a:off x="7696160" y="208563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28" name="Textbox"/>
            <p:cNvSpPr txBox="1">
              <a:spLocks/>
            </p:cNvSpPr>
            <p:nvPr userDrawn="1"/>
          </p:nvSpPr>
          <p:spPr>
            <a:xfrm>
              <a:off x="6209330" y="208563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29" name="Textbox"/>
            <p:cNvSpPr txBox="1">
              <a:spLocks/>
            </p:cNvSpPr>
            <p:nvPr userDrawn="1"/>
          </p:nvSpPr>
          <p:spPr>
            <a:xfrm>
              <a:off x="9043221" y="208563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4" name="SP Agenda Section Highlight" hidden="1"/>
          <p:cNvGrpSpPr>
            <a:grpSpLocks/>
          </p:cNvGrpSpPr>
          <p:nvPr userDrawn="1"/>
        </p:nvGrpSpPr>
        <p:grpSpPr>
          <a:xfrm>
            <a:off x="385100" y="2616963"/>
            <a:ext cx="8657274" cy="369332"/>
            <a:chOff x="1797664" y="2616963"/>
            <a:chExt cx="865727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2" name="Textbox"/>
            <p:cNvSpPr txBox="1">
              <a:spLocks/>
            </p:cNvSpPr>
            <p:nvPr userDrawn="1"/>
          </p:nvSpPr>
          <p:spPr>
            <a:xfrm>
              <a:off x="2267220" y="2616963"/>
              <a:ext cx="3843347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33" name="Textbox"/>
            <p:cNvSpPr txBox="1">
              <a:spLocks/>
            </p:cNvSpPr>
            <p:nvPr userDrawn="1"/>
          </p:nvSpPr>
          <p:spPr>
            <a:xfrm>
              <a:off x="1797664" y="2616963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34" name="Textbox"/>
            <p:cNvSpPr txBox="1">
              <a:spLocks/>
            </p:cNvSpPr>
            <p:nvPr userDrawn="1"/>
          </p:nvSpPr>
          <p:spPr>
            <a:xfrm>
              <a:off x="9817944" y="2616963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35" name="Textbox"/>
            <p:cNvSpPr txBox="1">
              <a:spLocks/>
            </p:cNvSpPr>
            <p:nvPr userDrawn="1"/>
          </p:nvSpPr>
          <p:spPr>
            <a:xfrm>
              <a:off x="7696160" y="2616963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36" name="Textbox"/>
            <p:cNvSpPr txBox="1">
              <a:spLocks/>
            </p:cNvSpPr>
            <p:nvPr userDrawn="1"/>
          </p:nvSpPr>
          <p:spPr>
            <a:xfrm>
              <a:off x="6209330" y="2616963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37" name="Textbox"/>
            <p:cNvSpPr txBox="1">
              <a:spLocks/>
            </p:cNvSpPr>
            <p:nvPr userDrawn="1"/>
          </p:nvSpPr>
          <p:spPr>
            <a:xfrm>
              <a:off x="9043221" y="2616963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8" name="SP Agenda Subsection" hidden="1"/>
          <p:cNvGrpSpPr>
            <a:grpSpLocks/>
          </p:cNvGrpSpPr>
          <p:nvPr userDrawn="1"/>
        </p:nvGrpSpPr>
        <p:grpSpPr>
          <a:xfrm>
            <a:off x="853239" y="3148295"/>
            <a:ext cx="8189135" cy="369332"/>
            <a:chOff x="2265804" y="3155687"/>
            <a:chExt cx="8189134" cy="369332"/>
          </a:xfrm>
        </p:grpSpPr>
        <p:sp>
          <p:nvSpPr>
            <p:cNvPr id="39" name="Textbox"/>
            <p:cNvSpPr txBox="1">
              <a:spLocks/>
            </p:cNvSpPr>
            <p:nvPr userDrawn="1"/>
          </p:nvSpPr>
          <p:spPr>
            <a:xfrm>
              <a:off x="2744123" y="3155687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40" name="Textbox"/>
            <p:cNvSpPr txBox="1">
              <a:spLocks/>
            </p:cNvSpPr>
            <p:nvPr userDrawn="1"/>
          </p:nvSpPr>
          <p:spPr>
            <a:xfrm>
              <a:off x="2265804" y="3155687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41" name="Textbox"/>
            <p:cNvSpPr txBox="1">
              <a:spLocks/>
            </p:cNvSpPr>
            <p:nvPr userDrawn="1"/>
          </p:nvSpPr>
          <p:spPr>
            <a:xfrm>
              <a:off x="9817944" y="3155687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42" name="Textbox"/>
            <p:cNvSpPr txBox="1">
              <a:spLocks/>
            </p:cNvSpPr>
            <p:nvPr userDrawn="1"/>
          </p:nvSpPr>
          <p:spPr>
            <a:xfrm>
              <a:off x="7696160" y="3155687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43" name="Textbox"/>
            <p:cNvSpPr txBox="1">
              <a:spLocks/>
            </p:cNvSpPr>
            <p:nvPr userDrawn="1"/>
          </p:nvSpPr>
          <p:spPr>
            <a:xfrm>
              <a:off x="6209330" y="3155687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44" name="Textbox"/>
            <p:cNvSpPr txBox="1">
              <a:spLocks/>
            </p:cNvSpPr>
            <p:nvPr userDrawn="1"/>
          </p:nvSpPr>
          <p:spPr>
            <a:xfrm>
              <a:off x="9043221" y="3155687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>
                  <a:solidFill>
                    <a:prstClr val="black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grpSp>
        <p:nvGrpSpPr>
          <p:cNvPr id="9" name="SP Agenda Subsection Highlight" hidden="1"/>
          <p:cNvGrpSpPr>
            <a:grpSpLocks/>
          </p:cNvGrpSpPr>
          <p:nvPr userDrawn="1"/>
        </p:nvGrpSpPr>
        <p:grpSpPr>
          <a:xfrm>
            <a:off x="853240" y="3679627"/>
            <a:ext cx="8189134" cy="369332"/>
            <a:chOff x="2265804" y="3694411"/>
            <a:chExt cx="8189134" cy="369332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46" name="Textbox"/>
            <p:cNvSpPr txBox="1">
              <a:spLocks/>
            </p:cNvSpPr>
            <p:nvPr userDrawn="1"/>
          </p:nvSpPr>
          <p:spPr>
            <a:xfrm>
              <a:off x="2744123" y="3694411"/>
              <a:ext cx="3366444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lstStyle/>
            <a:p>
              <a:pPr defTabSz="9334267">
                <a:tabLst>
                  <a:tab pos="9512062" algn="l"/>
                </a:tabLst>
              </a:pPr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TEXT&gt;</a:t>
              </a:r>
            </a:p>
          </p:txBody>
        </p:sp>
        <p:sp>
          <p:nvSpPr>
            <p:cNvPr id="47" name="Textbox"/>
            <p:cNvSpPr txBox="1">
              <a:spLocks/>
            </p:cNvSpPr>
            <p:nvPr userDrawn="1"/>
          </p:nvSpPr>
          <p:spPr>
            <a:xfrm>
              <a:off x="2265804" y="3694411"/>
              <a:ext cx="379556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ctr"/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N&gt;</a:t>
              </a:r>
            </a:p>
          </p:txBody>
        </p:sp>
        <p:sp>
          <p:nvSpPr>
            <p:cNvPr id="48" name="Textbox"/>
            <p:cNvSpPr txBox="1">
              <a:spLocks/>
            </p:cNvSpPr>
            <p:nvPr userDrawn="1"/>
          </p:nvSpPr>
          <p:spPr>
            <a:xfrm>
              <a:off x="9817944" y="3694411"/>
              <a:ext cx="636994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pPr algn="r"/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P&gt;</a:t>
              </a:r>
            </a:p>
          </p:txBody>
        </p:sp>
        <p:sp>
          <p:nvSpPr>
            <p:cNvPr id="49" name="Textbox"/>
            <p:cNvSpPr txBox="1">
              <a:spLocks/>
            </p:cNvSpPr>
            <p:nvPr userDrawn="1"/>
          </p:nvSpPr>
          <p:spPr>
            <a:xfrm>
              <a:off x="7696160" y="3694411"/>
              <a:ext cx="1257061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TIMESLOT&gt;</a:t>
              </a:r>
            </a:p>
          </p:txBody>
        </p:sp>
        <p:sp>
          <p:nvSpPr>
            <p:cNvPr id="50" name="Textbox"/>
            <p:cNvSpPr txBox="1">
              <a:spLocks/>
            </p:cNvSpPr>
            <p:nvPr userDrawn="1"/>
          </p:nvSpPr>
          <p:spPr>
            <a:xfrm>
              <a:off x="6209330" y="3694411"/>
              <a:ext cx="1388067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RESPONSIBLE&gt;</a:t>
              </a:r>
            </a:p>
          </p:txBody>
        </p:sp>
        <p:sp>
          <p:nvSpPr>
            <p:cNvPr id="51" name="Textbox"/>
            <p:cNvSpPr txBox="1">
              <a:spLocks/>
            </p:cNvSpPr>
            <p:nvPr userDrawn="1"/>
          </p:nvSpPr>
          <p:spPr>
            <a:xfrm>
              <a:off x="9043221" y="3694411"/>
              <a:ext cx="684723" cy="369332"/>
            </a:xfrm>
            <a:prstGeom prst="rect">
              <a:avLst/>
            </a:prstGeom>
            <a:noFill/>
          </p:spPr>
          <p:txBody>
            <a:bodyPr wrap="none" rtlCol="0" anchor="ctr">
              <a:noAutofit/>
            </a:bodyPr>
            <a:lstStyle/>
            <a:p>
              <a:r>
                <a:rPr lang="en-US" sz="1400" b="1">
                  <a:solidFill>
                    <a:prstClr val="black"/>
                  </a:solidFill>
                  <a:sym typeface="MetricHPE" panose="020B0503030202060203" pitchFamily="34" charset="0"/>
                </a:rPr>
                <a:t>&lt;DURATION&gt;</a:t>
              </a:r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AD3FC5EF-E69D-4618-8443-A903DF0604E7}"/>
              </a:ext>
            </a:extLst>
          </p:cNvPr>
          <p:cNvSpPr>
            <a:spLocks noGrp="1"/>
          </p:cNvSpPr>
          <p:nvPr>
            <p:ph type="title" idx="14" hasCustomPrompt="1"/>
          </p:nvPr>
        </p:nvSpPr>
        <p:spPr/>
        <p:txBody>
          <a:bodyPr vert="horz"/>
          <a:lstStyle>
            <a:lvl1pPr>
              <a:defRPr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138C5D1F-7025-4361-82C0-442529977361}"/>
              </a:ext>
            </a:extLst>
          </p:cNvPr>
          <p:cNvSpPr/>
          <p:nvPr userDrawn="1"/>
        </p:nvSpPr>
        <p:spPr>
          <a:xfrm>
            <a:off x="385100" y="843885"/>
            <a:ext cx="685711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88421"/>
            <a:endParaRPr lang="en-US" sz="2150">
              <a:solidFill>
                <a:prstClr val="white"/>
              </a:solidFill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341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16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9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88.xml"/><Relationship Id="rId42" Type="http://schemas.openxmlformats.org/officeDocument/2006/relationships/slideLayout" Target="../slideLayouts/slideLayout96.xml"/><Relationship Id="rId47" Type="http://schemas.openxmlformats.org/officeDocument/2006/relationships/slideLayout" Target="../slideLayouts/slideLayout101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slideLayout" Target="../slideLayouts/slideLayout91.xml"/><Relationship Id="rId40" Type="http://schemas.openxmlformats.org/officeDocument/2006/relationships/slideLayout" Target="../slideLayouts/slideLayout94.xml"/><Relationship Id="rId45" Type="http://schemas.openxmlformats.org/officeDocument/2006/relationships/slideLayout" Target="../slideLayouts/slideLayout99.xml"/><Relationship Id="rId53" Type="http://schemas.openxmlformats.org/officeDocument/2006/relationships/image" Target="../media/image1.png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slideLayout" Target="../slideLayouts/slideLayout85.xml"/><Relationship Id="rId44" Type="http://schemas.openxmlformats.org/officeDocument/2006/relationships/slideLayout" Target="../slideLayouts/slideLayout98.xml"/><Relationship Id="rId52" Type="http://schemas.openxmlformats.org/officeDocument/2006/relationships/image" Target="../media/image8.emf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slideLayout" Target="../slideLayouts/slideLayout89.xml"/><Relationship Id="rId43" Type="http://schemas.openxmlformats.org/officeDocument/2006/relationships/slideLayout" Target="../slideLayouts/slideLayout97.xml"/><Relationship Id="rId48" Type="http://schemas.openxmlformats.org/officeDocument/2006/relationships/slideLayout" Target="../slideLayouts/slideLayout102.xml"/><Relationship Id="rId8" Type="http://schemas.openxmlformats.org/officeDocument/2006/relationships/slideLayout" Target="../slideLayouts/slideLayout62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slideLayout" Target="../slideLayouts/slideLayout87.xml"/><Relationship Id="rId38" Type="http://schemas.openxmlformats.org/officeDocument/2006/relationships/slideLayout" Target="../slideLayouts/slideLayout92.xml"/><Relationship Id="rId4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74.xml"/><Relationship Id="rId41" Type="http://schemas.openxmlformats.org/officeDocument/2006/relationships/slideLayout" Target="../slideLayouts/slideLayout95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slideLayout" Target="../slideLayouts/slideLayout90.xml"/><Relationship Id="rId4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slideLayout" Target="../slideLayouts/slideLayout128.xml"/><Relationship Id="rId39" Type="http://schemas.openxmlformats.org/officeDocument/2006/relationships/slideLayout" Target="../slideLayouts/slideLayout141.xml"/><Relationship Id="rId21" Type="http://schemas.openxmlformats.org/officeDocument/2006/relationships/slideLayout" Target="../slideLayouts/slideLayout123.xml"/><Relationship Id="rId34" Type="http://schemas.openxmlformats.org/officeDocument/2006/relationships/slideLayout" Target="../slideLayouts/slideLayout136.xml"/><Relationship Id="rId42" Type="http://schemas.openxmlformats.org/officeDocument/2006/relationships/slideLayout" Target="../slideLayouts/slideLayout144.xml"/><Relationship Id="rId47" Type="http://schemas.openxmlformats.org/officeDocument/2006/relationships/slideLayout" Target="../slideLayouts/slideLayout149.xml"/><Relationship Id="rId50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32" Type="http://schemas.openxmlformats.org/officeDocument/2006/relationships/slideLayout" Target="../slideLayouts/slideLayout134.xml"/><Relationship Id="rId37" Type="http://schemas.openxmlformats.org/officeDocument/2006/relationships/slideLayout" Target="../slideLayouts/slideLayout139.xml"/><Relationship Id="rId40" Type="http://schemas.openxmlformats.org/officeDocument/2006/relationships/slideLayout" Target="../slideLayouts/slideLayout142.xml"/><Relationship Id="rId45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slideLayout" Target="../slideLayouts/slideLayout130.xml"/><Relationship Id="rId36" Type="http://schemas.openxmlformats.org/officeDocument/2006/relationships/slideLayout" Target="../slideLayouts/slideLayout138.xml"/><Relationship Id="rId49" Type="http://schemas.openxmlformats.org/officeDocument/2006/relationships/slideLayout" Target="../slideLayouts/slideLayout151.xml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slideLayout" Target="../slideLayouts/slideLayout133.xml"/><Relationship Id="rId44" Type="http://schemas.openxmlformats.org/officeDocument/2006/relationships/slideLayout" Target="../slideLayouts/slideLayout146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slideLayout" Target="../slideLayouts/slideLayout129.xml"/><Relationship Id="rId30" Type="http://schemas.openxmlformats.org/officeDocument/2006/relationships/slideLayout" Target="../slideLayouts/slideLayout132.xml"/><Relationship Id="rId35" Type="http://schemas.openxmlformats.org/officeDocument/2006/relationships/slideLayout" Target="../slideLayouts/slideLayout137.xml"/><Relationship Id="rId43" Type="http://schemas.openxmlformats.org/officeDocument/2006/relationships/slideLayout" Target="../slideLayouts/slideLayout145.xml"/><Relationship Id="rId48" Type="http://schemas.openxmlformats.org/officeDocument/2006/relationships/slideLayout" Target="../slideLayouts/slideLayout150.xml"/><Relationship Id="rId8" Type="http://schemas.openxmlformats.org/officeDocument/2006/relationships/slideLayout" Target="../slideLayouts/slideLayout110.xml"/><Relationship Id="rId51" Type="http://schemas.openxmlformats.org/officeDocument/2006/relationships/theme" Target="../theme/theme3.xml"/><Relationship Id="rId3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slideLayout" Target="../slideLayouts/slideLayout127.xml"/><Relationship Id="rId33" Type="http://schemas.openxmlformats.org/officeDocument/2006/relationships/slideLayout" Target="../slideLayouts/slideLayout135.xml"/><Relationship Id="rId38" Type="http://schemas.openxmlformats.org/officeDocument/2006/relationships/slideLayout" Target="../slideLayouts/slideLayout140.xml"/><Relationship Id="rId46" Type="http://schemas.openxmlformats.org/officeDocument/2006/relationships/slideLayout" Target="../slideLayouts/slideLayout148.xml"/><Relationship Id="rId20" Type="http://schemas.openxmlformats.org/officeDocument/2006/relationships/slideLayout" Target="../slideLayouts/slideLayout122.xml"/><Relationship Id="rId41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9" Type="http://schemas.openxmlformats.org/officeDocument/2006/relationships/slideLayout" Target="../slideLayouts/slideLayout191.xml"/><Relationship Id="rId21" Type="http://schemas.openxmlformats.org/officeDocument/2006/relationships/slideLayout" Target="../slideLayouts/slideLayout173.xml"/><Relationship Id="rId34" Type="http://schemas.openxmlformats.org/officeDocument/2006/relationships/slideLayout" Target="../slideLayouts/slideLayout186.xml"/><Relationship Id="rId42" Type="http://schemas.openxmlformats.org/officeDocument/2006/relationships/slideLayout" Target="../slideLayouts/slideLayout194.xml"/><Relationship Id="rId47" Type="http://schemas.openxmlformats.org/officeDocument/2006/relationships/slideLayout" Target="../slideLayouts/slideLayout199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9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slideLayout" Target="../slideLayouts/slideLayout184.xml"/><Relationship Id="rId37" Type="http://schemas.openxmlformats.org/officeDocument/2006/relationships/slideLayout" Target="../slideLayouts/slideLayout189.xml"/><Relationship Id="rId40" Type="http://schemas.openxmlformats.org/officeDocument/2006/relationships/slideLayout" Target="../slideLayouts/slideLayout192.xml"/><Relationship Id="rId45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36" Type="http://schemas.openxmlformats.org/officeDocument/2006/relationships/slideLayout" Target="../slideLayouts/slideLayout188.xml"/><Relationship Id="rId49" Type="http://schemas.openxmlformats.org/officeDocument/2006/relationships/slideLayout" Target="../slideLayouts/slideLayout201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slideLayout" Target="../slideLayouts/slideLayout183.xml"/><Relationship Id="rId44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slideLayout" Target="../slideLayouts/slideLayout182.xml"/><Relationship Id="rId35" Type="http://schemas.openxmlformats.org/officeDocument/2006/relationships/slideLayout" Target="../slideLayouts/slideLayout187.xml"/><Relationship Id="rId43" Type="http://schemas.openxmlformats.org/officeDocument/2006/relationships/slideLayout" Target="../slideLayouts/slideLayout195.xml"/><Relationship Id="rId48" Type="http://schemas.openxmlformats.org/officeDocument/2006/relationships/slideLayout" Target="../slideLayouts/slideLayout200.xml"/><Relationship Id="rId8" Type="http://schemas.openxmlformats.org/officeDocument/2006/relationships/slideLayout" Target="../slideLayouts/slideLayout160.xml"/><Relationship Id="rId51" Type="http://schemas.openxmlformats.org/officeDocument/2006/relationships/image" Target="../media/image1.png"/><Relationship Id="rId3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85.xml"/><Relationship Id="rId38" Type="http://schemas.openxmlformats.org/officeDocument/2006/relationships/slideLayout" Target="../slideLayouts/slideLayout190.xml"/><Relationship Id="rId46" Type="http://schemas.openxmlformats.org/officeDocument/2006/relationships/slideLayout" Target="../slideLayouts/slideLayout198.xml"/><Relationship Id="rId20" Type="http://schemas.openxmlformats.org/officeDocument/2006/relationships/slideLayout" Target="../slideLayouts/slideLayout172.xml"/><Relationship Id="rId41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4.xml"/><Relationship Id="rId18" Type="http://schemas.openxmlformats.org/officeDocument/2006/relationships/slideLayout" Target="../slideLayouts/slideLayout219.xml"/><Relationship Id="rId26" Type="http://schemas.openxmlformats.org/officeDocument/2006/relationships/slideLayout" Target="../slideLayouts/slideLayout227.xml"/><Relationship Id="rId39" Type="http://schemas.openxmlformats.org/officeDocument/2006/relationships/slideLayout" Target="../slideLayouts/slideLayout240.xml"/><Relationship Id="rId21" Type="http://schemas.openxmlformats.org/officeDocument/2006/relationships/slideLayout" Target="../slideLayouts/slideLayout222.xml"/><Relationship Id="rId34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217.xml"/><Relationship Id="rId20" Type="http://schemas.openxmlformats.org/officeDocument/2006/relationships/slideLayout" Target="../slideLayouts/slideLayout221.xml"/><Relationship Id="rId29" Type="http://schemas.openxmlformats.org/officeDocument/2006/relationships/slideLayout" Target="../slideLayouts/slideLayout230.xml"/><Relationship Id="rId41" Type="http://schemas.openxmlformats.org/officeDocument/2006/relationships/image" Target="../media/image1.png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24" Type="http://schemas.openxmlformats.org/officeDocument/2006/relationships/slideLayout" Target="../slideLayouts/slideLayout225.xml"/><Relationship Id="rId32" Type="http://schemas.openxmlformats.org/officeDocument/2006/relationships/slideLayout" Target="../slideLayouts/slideLayout233.xml"/><Relationship Id="rId37" Type="http://schemas.openxmlformats.org/officeDocument/2006/relationships/slideLayout" Target="../slideLayouts/slideLayout238.xml"/><Relationship Id="rId40" Type="http://schemas.openxmlformats.org/officeDocument/2006/relationships/theme" Target="../theme/theme5.xml"/><Relationship Id="rId5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6.xml"/><Relationship Id="rId23" Type="http://schemas.openxmlformats.org/officeDocument/2006/relationships/slideLayout" Target="../slideLayouts/slideLayout224.xml"/><Relationship Id="rId28" Type="http://schemas.openxmlformats.org/officeDocument/2006/relationships/slideLayout" Target="../slideLayouts/slideLayout229.xml"/><Relationship Id="rId36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11.xml"/><Relationship Id="rId19" Type="http://schemas.openxmlformats.org/officeDocument/2006/relationships/slideLayout" Target="../slideLayouts/slideLayout220.xml"/><Relationship Id="rId31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Relationship Id="rId22" Type="http://schemas.openxmlformats.org/officeDocument/2006/relationships/slideLayout" Target="../slideLayouts/slideLayout223.xml"/><Relationship Id="rId27" Type="http://schemas.openxmlformats.org/officeDocument/2006/relationships/slideLayout" Target="../slideLayouts/slideLayout228.xml"/><Relationship Id="rId30" Type="http://schemas.openxmlformats.org/officeDocument/2006/relationships/slideLayout" Target="../slideLayouts/slideLayout231.xml"/><Relationship Id="rId35" Type="http://schemas.openxmlformats.org/officeDocument/2006/relationships/slideLayout" Target="../slideLayouts/slideLayout236.xml"/><Relationship Id="rId8" Type="http://schemas.openxmlformats.org/officeDocument/2006/relationships/slideLayout" Target="../slideLayouts/slideLayout209.xml"/><Relationship Id="rId3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13.xml"/><Relationship Id="rId17" Type="http://schemas.openxmlformats.org/officeDocument/2006/relationships/slideLayout" Target="../slideLayouts/slideLayout218.xml"/><Relationship Id="rId25" Type="http://schemas.openxmlformats.org/officeDocument/2006/relationships/slideLayout" Target="../slideLayouts/slideLayout226.xml"/><Relationship Id="rId33" Type="http://schemas.openxmlformats.org/officeDocument/2006/relationships/slideLayout" Target="../slideLayouts/slideLayout234.xml"/><Relationship Id="rId38" Type="http://schemas.openxmlformats.org/officeDocument/2006/relationships/slideLayout" Target="../slideLayouts/slideLayout2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242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45.xml"/><Relationship Id="rId15" Type="http://schemas.openxmlformats.org/officeDocument/2006/relationships/image" Target="../media/image20.png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Relationship Id="rId14" Type="http://schemas.openxmlformats.org/officeDocument/2006/relationships/image" Target="../media/image1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6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365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96" r:id="rId2"/>
    <p:sldLayoutId id="2147483695" r:id="rId3"/>
    <p:sldLayoutId id="2147483702" r:id="rId4"/>
    <p:sldLayoutId id="2147483701" r:id="rId5"/>
    <p:sldLayoutId id="2147483767" r:id="rId6"/>
    <p:sldLayoutId id="2147483705" r:id="rId7"/>
    <p:sldLayoutId id="2147483661" r:id="rId8"/>
    <p:sldLayoutId id="2147483662" r:id="rId9"/>
    <p:sldLayoutId id="2147483663" r:id="rId10"/>
    <p:sldLayoutId id="2147483685" r:id="rId11"/>
    <p:sldLayoutId id="2147483686" r:id="rId12"/>
    <p:sldLayoutId id="2147483666" r:id="rId13"/>
    <p:sldLayoutId id="2147483756" r:id="rId14"/>
    <p:sldLayoutId id="2147483668" r:id="rId15"/>
    <p:sldLayoutId id="2147483669" r:id="rId16"/>
    <p:sldLayoutId id="2147483652" r:id="rId17"/>
    <p:sldLayoutId id="2147483698" r:id="rId18"/>
    <p:sldLayoutId id="2147483755" r:id="rId19"/>
    <p:sldLayoutId id="2147483670" r:id="rId20"/>
    <p:sldLayoutId id="2147483671" r:id="rId21"/>
    <p:sldLayoutId id="2147483699" r:id="rId22"/>
    <p:sldLayoutId id="2147483672" r:id="rId23"/>
    <p:sldLayoutId id="2147483673" r:id="rId24"/>
    <p:sldLayoutId id="2147483654" r:id="rId25"/>
    <p:sldLayoutId id="2147483679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56" r:id="rId34"/>
    <p:sldLayoutId id="2147483657" r:id="rId35"/>
    <p:sldLayoutId id="2147483758" r:id="rId36"/>
    <p:sldLayoutId id="2147483697" r:id="rId37"/>
    <p:sldLayoutId id="2147483676" r:id="rId38"/>
    <p:sldLayoutId id="2147483677" r:id="rId39"/>
    <p:sldLayoutId id="2147483706" r:id="rId40"/>
    <p:sldLayoutId id="2147483707" r:id="rId41"/>
    <p:sldLayoutId id="2147483704" r:id="rId42"/>
    <p:sldLayoutId id="2147483752" r:id="rId43"/>
    <p:sldLayoutId id="2147483753" r:id="rId44"/>
    <p:sldLayoutId id="2147483703" r:id="rId45"/>
    <p:sldLayoutId id="2147483757" r:id="rId46"/>
    <p:sldLayoutId id="2147483766" r:id="rId47"/>
    <p:sldLayoutId id="2147483700" r:id="rId48"/>
    <p:sldLayoutId id="2147483759" r:id="rId49"/>
    <p:sldLayoutId id="2147483761" r:id="rId50"/>
    <p:sldLayoutId id="2147483762" r:id="rId51"/>
    <p:sldLayoutId id="2147483763" r:id="rId52"/>
    <p:sldLayoutId id="2147483764" r:id="rId53"/>
    <p:sldLayoutId id="2147483765" r:id="rId5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 userDrawn="1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7423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3884" userDrawn="1">
          <p15:clr>
            <a:srgbClr val="F26B43"/>
          </p15:clr>
        </p15:guide>
        <p15:guide id="7" orient="horz" pos="1440" userDrawn="1">
          <p15:clr>
            <a:srgbClr val="F26B43"/>
          </p15:clr>
        </p15:guide>
        <p15:guide id="8" orient="horz" pos="2880" userDrawn="1">
          <p15:clr>
            <a:srgbClr val="F26B43"/>
          </p15:clr>
        </p15:guide>
        <p15:guide id="9" pos="2568" userDrawn="1">
          <p15:clr>
            <a:srgbClr val="F26B43"/>
          </p15:clr>
        </p15:guide>
        <p15:guide id="10" pos="5112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A121F0-FBE7-49A7-A4ED-3C39532ECE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306" imgH="306" progId="TCLayout.ActiveDocument.1">
                  <p:embed/>
                </p:oleObj>
              </mc:Choice>
              <mc:Fallback>
                <p:oleObj name="think-cell Slide" r:id="rId51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A121F0-FBE7-49A7-A4ED-3C39532ECE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3"/>
              </a:buBlip>
              <a:defRPr sz="2000" kern="1200" cap="all" normalizeH="0" baseline="1000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MetricHPE" panose="020B0503030202060203" pitchFamily="34" charset="0"/>
                <a:sym typeface="MetricHPE" panose="020B0503030202060203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prstClr val="black"/>
              </a:solidFill>
              <a:sym typeface="MetricHPE" panose="020B0503030202060203" pitchFamily="34" charset="0"/>
            </a:endParaRP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0580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  <p:sldLayoutId id="2147483788" r:id="rId19"/>
    <p:sldLayoutId id="2147483789" r:id="rId20"/>
    <p:sldLayoutId id="2147483790" r:id="rId21"/>
    <p:sldLayoutId id="2147483791" r:id="rId22"/>
    <p:sldLayoutId id="2147483792" r:id="rId23"/>
    <p:sldLayoutId id="2147483793" r:id="rId24"/>
    <p:sldLayoutId id="2147483794" r:id="rId25"/>
    <p:sldLayoutId id="2147483795" r:id="rId26"/>
    <p:sldLayoutId id="2147483796" r:id="rId27"/>
    <p:sldLayoutId id="2147483797" r:id="rId28"/>
    <p:sldLayoutId id="2147483798" r:id="rId29"/>
    <p:sldLayoutId id="2147483799" r:id="rId30"/>
    <p:sldLayoutId id="2147483800" r:id="rId31"/>
    <p:sldLayoutId id="2147483801" r:id="rId32"/>
    <p:sldLayoutId id="2147483802" r:id="rId33"/>
    <p:sldLayoutId id="2147483803" r:id="rId34"/>
    <p:sldLayoutId id="2147483804" r:id="rId35"/>
    <p:sldLayoutId id="2147483805" r:id="rId36"/>
    <p:sldLayoutId id="2147483806" r:id="rId37"/>
    <p:sldLayoutId id="2147483807" r:id="rId38"/>
    <p:sldLayoutId id="2147483808" r:id="rId39"/>
    <p:sldLayoutId id="2147483809" r:id="rId40"/>
    <p:sldLayoutId id="2147483810" r:id="rId41"/>
    <p:sldLayoutId id="2147483811" r:id="rId42"/>
    <p:sldLayoutId id="2147483812" r:id="rId43"/>
    <p:sldLayoutId id="2147483813" r:id="rId44"/>
    <p:sldLayoutId id="2147483814" r:id="rId45"/>
    <p:sldLayoutId id="2147483815" r:id="rId46"/>
    <p:sldLayoutId id="2147483816" r:id="rId47"/>
    <p:sldLayoutId id="2147484017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MetricHPE" panose="020B0503030202060203" pitchFamily="34" charset="0"/>
          <a:ea typeface="+mj-ea"/>
          <a:cs typeface="+mj-cs"/>
          <a:sym typeface="MetricHPE" panose="020B0503030202060203" pitchFamily="34" charset="0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  <a:sym typeface="MetricHPE" panose="020B0503030202060203" pitchFamily="34" charset="0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">
            <a:extLst>
              <a:ext uri="{FF2B5EF4-FFF2-40B4-BE49-F238E27FC236}">
                <a16:creationId xmlns:a16="http://schemas.microsoft.com/office/drawing/2014/main" id="{B6229826-7836-4F83-9678-46ABDA4A4E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Placeholder">
            <a:extLst>
              <a:ext uri="{FF2B5EF4-FFF2-40B4-BE49-F238E27FC236}">
                <a16:creationId xmlns:a16="http://schemas.microsoft.com/office/drawing/2014/main" id="{34C97E0C-41A9-416F-9951-740DC99EB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8A125B4A-1FC4-46C0-9E45-40396BC086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2"/>
              </a:buBlip>
              <a:defRPr sz="2000" kern="1200" cap="all" normalizeH="0" baseline="10000">
                <a:solidFill>
                  <a:schemeClr val="bg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16" name="Footer Placeholder">
            <a:extLst>
              <a:ext uri="{FF2B5EF4-FFF2-40B4-BE49-F238E27FC236}">
                <a16:creationId xmlns:a16="http://schemas.microsoft.com/office/drawing/2014/main" id="{912B1AE4-00D0-4A57-B7D8-7EF007D34E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07923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cap="all">
                <a:solidFill>
                  <a:srgbClr val="C6C6C2"/>
                </a:solidFill>
                <a:ea typeface="MetricHPE" charset="0"/>
                <a:cs typeface="MetricHPE" charset="0"/>
              </a:rPr>
              <a:t>Document confidentiel | Diffusion réservée aux partenaires agréés de HPE exclusivement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2E47E134-7994-4DFF-A19B-0F7BFBD45BAD}"/>
              </a:ext>
            </a:extLst>
          </p:cNvPr>
          <p:cNvSpPr>
            <a:spLocks noChangeAspect="1"/>
          </p:cNvSpPr>
          <p:nvPr userDrawn="1"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315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  <p:sldLayoutId id="2147483843" r:id="rId23"/>
    <p:sldLayoutId id="2147483844" r:id="rId24"/>
    <p:sldLayoutId id="2147483845" r:id="rId25"/>
    <p:sldLayoutId id="2147483846" r:id="rId26"/>
    <p:sldLayoutId id="2147483847" r:id="rId27"/>
    <p:sldLayoutId id="2147483848" r:id="rId28"/>
    <p:sldLayoutId id="2147483849" r:id="rId29"/>
    <p:sldLayoutId id="2147483850" r:id="rId30"/>
    <p:sldLayoutId id="2147483851" r:id="rId31"/>
    <p:sldLayoutId id="2147483852" r:id="rId32"/>
    <p:sldLayoutId id="2147483853" r:id="rId33"/>
    <p:sldLayoutId id="2147483854" r:id="rId34"/>
    <p:sldLayoutId id="2147483855" r:id="rId35"/>
    <p:sldLayoutId id="2147483856" r:id="rId36"/>
    <p:sldLayoutId id="2147483857" r:id="rId37"/>
    <p:sldLayoutId id="2147483858" r:id="rId38"/>
    <p:sldLayoutId id="2147483859" r:id="rId39"/>
    <p:sldLayoutId id="2147483860" r:id="rId40"/>
    <p:sldLayoutId id="2147483861" r:id="rId41"/>
    <p:sldLayoutId id="2147483862" r:id="rId42"/>
    <p:sldLayoutId id="2147483863" r:id="rId43"/>
    <p:sldLayoutId id="2147483864" r:id="rId44"/>
    <p:sldLayoutId id="2147483865" r:id="rId45"/>
    <p:sldLayoutId id="2147483866" r:id="rId46"/>
    <p:sldLayoutId id="2147483867" r:id="rId47"/>
    <p:sldLayoutId id="2147483868" r:id="rId48"/>
    <p:sldLayoutId id="2147483869" r:id="rId49"/>
    <p:sldLayoutId id="2147483871" r:id="rId5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bg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F759ED98-483C-42F4-AA52-F2F6388775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51"/>
              </a:buBlip>
              <a:defRPr sz="2000" kern="1200" cap="all" normalizeH="0" baseline="10000">
                <a:solidFill>
                  <a:schemeClr val="tx1"/>
                </a:solidFill>
                <a:latin typeface="+mn-lt"/>
              </a:defRPr>
            </a:lvl1pPr>
          </a:lstStyle>
          <a:p>
            <a:pPr defTabSz="1088421"/>
            <a:fld id="{104FC826-72BB-4AF1-BA01-A94F7396A7DC}" type="slidenum">
              <a:rPr lang="en-US" smtClean="0"/>
              <a:pPr defTabSz="1088421"/>
              <a:t>‹#›</a:t>
            </a:fld>
            <a:endParaRPr lang="en-US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58400D4D-D383-483A-A797-47C73BC11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21696" y="6129337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lvl1pPr algn="r">
              <a:lnSpc>
                <a:spcPct val="90000"/>
              </a:lnSpc>
              <a:defRPr sz="12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onfidential | Authorized HPE Partner Use Only</a:t>
            </a:r>
          </a:p>
        </p:txBody>
      </p:sp>
      <p:sp>
        <p:nvSpPr>
          <p:cNvPr id="17" name="Element">
            <a:extLst>
              <a:ext uri="{FF2B5EF4-FFF2-40B4-BE49-F238E27FC236}">
                <a16:creationId xmlns:a16="http://schemas.microsoft.com/office/drawing/2014/main" id="{C38F67B8-84E4-471A-83C2-5829945DB925}"/>
              </a:ext>
            </a:extLst>
          </p:cNvPr>
          <p:cNvSpPr>
            <a:spLocks noChangeAspect="1"/>
          </p:cNvSpPr>
          <p:nvPr/>
        </p:nvSpPr>
        <p:spPr>
          <a:xfrm>
            <a:off x="381000" y="6246577"/>
            <a:ext cx="951511" cy="272927"/>
          </a:xfrm>
          <a:custGeom>
            <a:avLst/>
            <a:gdLst>
              <a:gd name="connsiteX0" fmla="*/ 0 w 951511"/>
              <a:gd name="connsiteY0" fmla="*/ 0 h 272927"/>
              <a:gd name="connsiteX1" fmla="*/ 0 w 951511"/>
              <a:gd name="connsiteY1" fmla="*/ 272927 h 272927"/>
              <a:gd name="connsiteX2" fmla="*/ 0 w 951511"/>
              <a:gd name="connsiteY2" fmla="*/ 272927 h 272927"/>
              <a:gd name="connsiteX3" fmla="*/ 951511 w 951511"/>
              <a:gd name="connsiteY3" fmla="*/ 272927 h 272927"/>
              <a:gd name="connsiteX4" fmla="*/ 951511 w 951511"/>
              <a:gd name="connsiteY4" fmla="*/ 0 h 272927"/>
              <a:gd name="connsiteX5" fmla="*/ 0 w 951511"/>
              <a:gd name="connsiteY5" fmla="*/ 0 h 272927"/>
              <a:gd name="connsiteX6" fmla="*/ 891783 w 951511"/>
              <a:gd name="connsiteY6" fmla="*/ 214028 h 272927"/>
              <a:gd name="connsiteX7" fmla="*/ 59729 w 951511"/>
              <a:gd name="connsiteY7" fmla="*/ 214028 h 272927"/>
              <a:gd name="connsiteX8" fmla="*/ 59729 w 951511"/>
              <a:gd name="connsiteY8" fmla="*/ 59729 h 272927"/>
              <a:gd name="connsiteX9" fmla="*/ 892612 w 951511"/>
              <a:gd name="connsiteY9" fmla="*/ 59729 h 272927"/>
              <a:gd name="connsiteX10" fmla="*/ 892612 w 951511"/>
              <a:gd name="connsiteY10" fmla="*/ 214028 h 27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1511" h="272927">
                <a:moveTo>
                  <a:pt x="0" y="0"/>
                </a:moveTo>
                <a:lnTo>
                  <a:pt x="0" y="272927"/>
                </a:lnTo>
                <a:lnTo>
                  <a:pt x="0" y="272927"/>
                </a:lnTo>
                <a:lnTo>
                  <a:pt x="951511" y="272927"/>
                </a:lnTo>
                <a:lnTo>
                  <a:pt x="951511" y="0"/>
                </a:lnTo>
                <a:lnTo>
                  <a:pt x="0" y="0"/>
                </a:lnTo>
                <a:close/>
                <a:moveTo>
                  <a:pt x="891783" y="214028"/>
                </a:moveTo>
                <a:lnTo>
                  <a:pt x="59729" y="214028"/>
                </a:lnTo>
                <a:lnTo>
                  <a:pt x="59729" y="59729"/>
                </a:lnTo>
                <a:lnTo>
                  <a:pt x="892612" y="59729"/>
                </a:lnTo>
                <a:lnTo>
                  <a:pt x="892612" y="214028"/>
                </a:lnTo>
                <a:close/>
              </a:path>
            </a:pathLst>
          </a:custGeom>
          <a:solidFill>
            <a:srgbClr val="01A982"/>
          </a:solidFill>
          <a:ln w="8283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9810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9827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5676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  <p:sldLayoutId id="2147483885" r:id="rId13"/>
    <p:sldLayoutId id="2147483886" r:id="rId14"/>
    <p:sldLayoutId id="2147483887" r:id="rId15"/>
    <p:sldLayoutId id="2147483888" r:id="rId16"/>
    <p:sldLayoutId id="2147483889" r:id="rId17"/>
    <p:sldLayoutId id="2147483890" r:id="rId18"/>
    <p:sldLayoutId id="2147483891" r:id="rId19"/>
    <p:sldLayoutId id="2147483892" r:id="rId20"/>
    <p:sldLayoutId id="2147483893" r:id="rId21"/>
    <p:sldLayoutId id="2147483894" r:id="rId22"/>
    <p:sldLayoutId id="2147483895" r:id="rId23"/>
    <p:sldLayoutId id="2147483896" r:id="rId24"/>
    <p:sldLayoutId id="2147483897" r:id="rId25"/>
    <p:sldLayoutId id="2147483898" r:id="rId26"/>
    <p:sldLayoutId id="2147483899" r:id="rId27"/>
    <p:sldLayoutId id="2147483900" r:id="rId28"/>
    <p:sldLayoutId id="2147483901" r:id="rId29"/>
    <p:sldLayoutId id="2147483902" r:id="rId30"/>
    <p:sldLayoutId id="2147483903" r:id="rId31"/>
    <p:sldLayoutId id="2147483904" r:id="rId32"/>
    <p:sldLayoutId id="2147483905" r:id="rId33"/>
    <p:sldLayoutId id="2147483906" r:id="rId34"/>
    <p:sldLayoutId id="2147483907" r:id="rId35"/>
    <p:sldLayoutId id="2147483908" r:id="rId36"/>
    <p:sldLayoutId id="2147483909" r:id="rId37"/>
    <p:sldLayoutId id="2147483910" r:id="rId38"/>
    <p:sldLayoutId id="2147483911" r:id="rId39"/>
    <p:sldLayoutId id="2147483912" r:id="rId40"/>
    <p:sldLayoutId id="2147483913" r:id="rId41"/>
    <p:sldLayoutId id="2147483914" r:id="rId42"/>
    <p:sldLayoutId id="2147483915" r:id="rId43"/>
    <p:sldLayoutId id="2147483916" r:id="rId44"/>
    <p:sldLayoutId id="2147483917" r:id="rId45"/>
    <p:sldLayoutId id="2147483918" r:id="rId46"/>
    <p:sldLayoutId id="2147483919" r:id="rId47"/>
    <p:sldLayoutId id="2147483920" r:id="rId48"/>
    <p:sldLayoutId id="2147484016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" panose="020B0303030202060203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" panose="020B0303030202060203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" panose="020B03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17">
          <p15:clr>
            <a:srgbClr val="F26B43"/>
          </p15:clr>
        </p15:guide>
        <p15:guide id="3" pos="240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84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1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43" y="391852"/>
            <a:ext cx="11430000" cy="401362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 anchor="ctr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909" y="998682"/>
            <a:ext cx="11429834" cy="4571999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2856" y="6301811"/>
            <a:ext cx="68434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205699" indent="-205699" algn="l">
              <a:lnSpc>
                <a:spcPct val="90000"/>
              </a:lnSpc>
              <a:buSzPct val="120000"/>
              <a:buFontTx/>
              <a:buBlip>
                <a:blip r:embed="rId41"/>
              </a:buBlip>
              <a:defRPr sz="2000" kern="1200" cap="all" normalizeH="0" baseline="1000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pPr defTabSz="1088421">
              <a:buFontTx/>
              <a:buBlip>
                <a:blip r:embed="rId41"/>
              </a:buBlip>
            </a:pPr>
            <a:fld id="{104FC826-72BB-4AF1-BA01-A94F7396A7DC}" type="slidenum">
              <a:rPr lang="en-US" smtClean="0"/>
              <a:pPr defTabSz="1088421">
                <a:buFontTx/>
                <a:buBlip>
                  <a:blip r:embed="rId41"/>
                </a:buBlip>
              </a:pPr>
              <a:t>‹#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88056" y="6336077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1200" cap="all" baseline="0">
                <a:solidFill>
                  <a:schemeClr val="bg2"/>
                </a:solidFill>
                <a:latin typeface="MetricHPE" panose="020B0503030202060203" pitchFamily="34" charset="0"/>
              </a:defRPr>
            </a:lvl1pPr>
          </a:lstStyle>
          <a:p>
            <a:r>
              <a:rPr lang="fr-FR"/>
              <a:t>Confidentiel | Diffusion aux partenaires agréés HPE uniquem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855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3" r:id="rId32"/>
    <p:sldLayoutId id="2147483954" r:id="rId33"/>
    <p:sldLayoutId id="2147483955" r:id="rId34"/>
    <p:sldLayoutId id="2147483956" r:id="rId35"/>
    <p:sldLayoutId id="2147483957" r:id="rId36"/>
    <p:sldLayoutId id="2147483958" r:id="rId37"/>
    <p:sldLayoutId id="2147483959" r:id="rId38"/>
    <p:sldLayoutId id="2147483960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bg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400"/>
        </a:spcBef>
        <a:buClrTx/>
        <a:buFont typeface="Arial"/>
        <a:buChar char="•"/>
        <a:defRPr sz="22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1pPr>
      <a:lvl2pPr marL="411480" indent="-182880" algn="l" defTabSz="914400" rtl="0" eaLnBrk="1" latinLnBrk="0" hangingPunct="1">
        <a:lnSpc>
          <a:spcPct val="90000"/>
        </a:lnSpc>
        <a:spcBef>
          <a:spcPts val="400"/>
        </a:spcBef>
        <a:buClrTx/>
        <a:buSzPct val="90000"/>
        <a:buFont typeface="Arial"/>
        <a:buChar char="•"/>
        <a:defRPr sz="20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2pPr>
      <a:lvl3pPr marL="54864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Arial"/>
        <a:buChar char="–"/>
        <a:defRPr sz="18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3pPr>
      <a:lvl4pPr marL="73152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Arial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4pPr>
      <a:lvl5pPr marL="868680" indent="-137160" algn="l" defTabSz="914400" rtl="0" eaLnBrk="1" latinLnBrk="0" hangingPunct="1">
        <a:lnSpc>
          <a:spcPct val="90000"/>
        </a:lnSpc>
        <a:spcBef>
          <a:spcPts val="400"/>
        </a:spcBef>
        <a:buClrTx/>
        <a:buFont typeface="Arial"/>
        <a:buChar char="–"/>
        <a:defRPr sz="1600" kern="1200">
          <a:solidFill>
            <a:schemeClr val="bg1"/>
          </a:solidFill>
          <a:latin typeface="MetricHPE" panose="020B0503030202060203" pitchFamily="34" charset="0"/>
          <a:ea typeface="+mn-ea"/>
          <a:cs typeface="+mn-cs"/>
        </a:defRPr>
      </a:lvl5pPr>
      <a:lvl6pPr marL="105156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6pPr>
      <a:lvl7pPr marL="118872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7pPr>
      <a:lvl8pPr marL="137160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8pPr>
      <a:lvl9pPr marL="1554480" indent="-137160" algn="l" defTabSz="914400" rtl="0" eaLnBrk="1" latinLnBrk="0" hangingPunct="1">
        <a:lnSpc>
          <a:spcPct val="90000"/>
        </a:lnSpc>
        <a:spcBef>
          <a:spcPts val="600"/>
        </a:spcBef>
        <a:buClrTx/>
        <a:buFont typeface="Arial"/>
        <a:buChar char="–"/>
        <a:defRPr sz="12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A55E14-D4E0-4633-9E05-E873DDC18B2A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87827" y="442308"/>
            <a:ext cx="10016351" cy="396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6" tIns="45690" rIns="91386" bIns="4569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737186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rtl="0" fontAlgn="base">
        <a:lnSpc>
          <a:spcPct val="90000"/>
        </a:lnSpc>
        <a:spcBef>
          <a:spcPct val="0"/>
        </a:spcBef>
        <a:spcAft>
          <a:spcPct val="0"/>
        </a:spcAft>
        <a:defRPr sz="2200" b="0" cap="all" baseline="0">
          <a:solidFill>
            <a:schemeClr val="tx1"/>
          </a:solidFill>
          <a:latin typeface="DINPro-Bold" panose="02000503030000020004" pitchFamily="50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786" b="1">
          <a:solidFill>
            <a:srgbClr val="73B900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4786" b="1">
          <a:solidFill>
            <a:srgbClr val="73B900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4786" b="1">
          <a:solidFill>
            <a:srgbClr val="73B900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4786" b="1">
          <a:solidFill>
            <a:srgbClr val="73B900"/>
          </a:solidFill>
          <a:latin typeface="Arial" charset="0"/>
        </a:defRPr>
      </a:lvl5pPr>
      <a:lvl6pPr marL="683337" algn="l" rtl="0" eaLnBrk="1" fontAlgn="base" hangingPunct="1">
        <a:spcBef>
          <a:spcPct val="0"/>
        </a:spcBef>
        <a:spcAft>
          <a:spcPct val="0"/>
        </a:spcAft>
        <a:defRPr sz="4786" b="1">
          <a:solidFill>
            <a:srgbClr val="73B900"/>
          </a:solidFill>
          <a:latin typeface="Arial" charset="0"/>
        </a:defRPr>
      </a:lvl6pPr>
      <a:lvl7pPr marL="1366673" algn="l" rtl="0" eaLnBrk="1" fontAlgn="base" hangingPunct="1">
        <a:spcBef>
          <a:spcPct val="0"/>
        </a:spcBef>
        <a:spcAft>
          <a:spcPct val="0"/>
        </a:spcAft>
        <a:defRPr sz="4786" b="1">
          <a:solidFill>
            <a:srgbClr val="73B900"/>
          </a:solidFill>
          <a:latin typeface="Arial" charset="0"/>
        </a:defRPr>
      </a:lvl7pPr>
      <a:lvl8pPr marL="2050007" algn="l" rtl="0" eaLnBrk="1" fontAlgn="base" hangingPunct="1">
        <a:spcBef>
          <a:spcPct val="0"/>
        </a:spcBef>
        <a:spcAft>
          <a:spcPct val="0"/>
        </a:spcAft>
        <a:defRPr sz="4786" b="1">
          <a:solidFill>
            <a:srgbClr val="73B900"/>
          </a:solidFill>
          <a:latin typeface="Arial" charset="0"/>
        </a:defRPr>
      </a:lvl8pPr>
      <a:lvl9pPr marL="2733322" algn="l" rtl="0" eaLnBrk="1" fontAlgn="base" hangingPunct="1">
        <a:spcBef>
          <a:spcPct val="0"/>
        </a:spcBef>
        <a:spcAft>
          <a:spcPct val="0"/>
        </a:spcAft>
        <a:defRPr sz="4786" b="1">
          <a:solidFill>
            <a:srgbClr val="73B900"/>
          </a:solidFill>
          <a:latin typeface="Arial" charset="0"/>
        </a:defRPr>
      </a:lvl9pPr>
    </p:titleStyle>
    <p:bodyStyle>
      <a:lvl1pPr marL="512503" indent="-512503" algn="l" rtl="0" fontAlgn="base">
        <a:lnSpc>
          <a:spcPct val="100000"/>
        </a:lnSpc>
        <a:spcBef>
          <a:spcPts val="538"/>
        </a:spcBef>
        <a:spcAft>
          <a:spcPct val="0"/>
        </a:spcAft>
        <a:buSzPct val="100000"/>
        <a:buFontTx/>
        <a:buBlip>
          <a:blip r:embed="rId15"/>
        </a:buBlip>
        <a:defRPr sz="4308" b="0">
          <a:solidFill>
            <a:schemeClr val="bg2">
              <a:lumMod val="50000"/>
            </a:schemeClr>
          </a:solidFill>
          <a:latin typeface="Trebuchet MS" pitchFamily="34" charset="0"/>
          <a:ea typeface="+mn-ea"/>
          <a:cs typeface="+mn-cs"/>
        </a:defRPr>
      </a:lvl1pPr>
      <a:lvl2pPr marL="1366673" indent="-512503" algn="l" rtl="0" fontAlgn="base">
        <a:lnSpc>
          <a:spcPct val="100000"/>
        </a:lnSpc>
        <a:spcBef>
          <a:spcPts val="538"/>
        </a:spcBef>
        <a:spcAft>
          <a:spcPct val="0"/>
        </a:spcAft>
        <a:buSzPct val="100000"/>
        <a:buFontTx/>
        <a:buBlip>
          <a:blip r:embed="rId15"/>
        </a:buBlip>
        <a:defRPr sz="3949" b="0">
          <a:solidFill>
            <a:schemeClr val="bg2">
              <a:lumMod val="50000"/>
            </a:schemeClr>
          </a:solidFill>
          <a:latin typeface="Trebuchet MS" pitchFamily="34" charset="0"/>
        </a:defRPr>
      </a:lvl2pPr>
      <a:lvl3pPr marL="2050007" indent="-422324" algn="l" rtl="0" fontAlgn="base">
        <a:spcBef>
          <a:spcPct val="20000"/>
        </a:spcBef>
        <a:spcAft>
          <a:spcPct val="0"/>
        </a:spcAft>
        <a:buSzPct val="100000"/>
        <a:buFontTx/>
        <a:buBlip>
          <a:blip r:embed="rId16"/>
        </a:buBlip>
        <a:defRPr sz="2692" b="0">
          <a:solidFill>
            <a:schemeClr val="tx1"/>
          </a:solidFill>
          <a:latin typeface="Trebuchet MS" pitchFamily="34" charset="0"/>
        </a:defRPr>
      </a:lvl3pPr>
      <a:lvl4pPr marL="2652656" indent="-341668" algn="l" rtl="0" fontAlgn="base">
        <a:spcBef>
          <a:spcPct val="20000"/>
        </a:spcBef>
        <a:spcAft>
          <a:spcPct val="0"/>
        </a:spcAft>
        <a:buChar char="–"/>
        <a:defRPr sz="2991">
          <a:solidFill>
            <a:schemeClr val="bg1"/>
          </a:solidFill>
          <a:latin typeface="+mn-lt"/>
        </a:defRPr>
      </a:lvl4pPr>
      <a:lvl5pPr marL="3165159" indent="-341668" algn="l" rtl="0" fontAlgn="base">
        <a:spcBef>
          <a:spcPct val="20000"/>
        </a:spcBef>
        <a:spcAft>
          <a:spcPct val="0"/>
        </a:spcAft>
        <a:buChar char="»"/>
        <a:defRPr sz="2991">
          <a:solidFill>
            <a:schemeClr val="bg1"/>
          </a:solidFill>
          <a:latin typeface="+mn-lt"/>
        </a:defRPr>
      </a:lvl5pPr>
      <a:lvl6pPr marL="3848494" indent="-341668" algn="l" rtl="0" eaLnBrk="1" fontAlgn="base" hangingPunct="1">
        <a:spcBef>
          <a:spcPct val="20000"/>
        </a:spcBef>
        <a:spcAft>
          <a:spcPct val="0"/>
        </a:spcAft>
        <a:buChar char="»"/>
        <a:defRPr sz="2991">
          <a:solidFill>
            <a:schemeClr val="bg1"/>
          </a:solidFill>
          <a:latin typeface="+mn-lt"/>
        </a:defRPr>
      </a:lvl6pPr>
      <a:lvl7pPr marL="4531811" indent="-341668" algn="l" rtl="0" eaLnBrk="1" fontAlgn="base" hangingPunct="1">
        <a:spcBef>
          <a:spcPct val="20000"/>
        </a:spcBef>
        <a:spcAft>
          <a:spcPct val="0"/>
        </a:spcAft>
        <a:buChar char="»"/>
        <a:defRPr sz="2991">
          <a:solidFill>
            <a:schemeClr val="bg1"/>
          </a:solidFill>
          <a:latin typeface="+mn-lt"/>
        </a:defRPr>
      </a:lvl7pPr>
      <a:lvl8pPr marL="5215144" indent="-341668" algn="l" rtl="0" eaLnBrk="1" fontAlgn="base" hangingPunct="1">
        <a:spcBef>
          <a:spcPct val="20000"/>
        </a:spcBef>
        <a:spcAft>
          <a:spcPct val="0"/>
        </a:spcAft>
        <a:buChar char="»"/>
        <a:defRPr sz="2991">
          <a:solidFill>
            <a:schemeClr val="bg1"/>
          </a:solidFill>
          <a:latin typeface="+mn-lt"/>
        </a:defRPr>
      </a:lvl8pPr>
      <a:lvl9pPr marL="5898471" indent="-341668" algn="l" rtl="0" eaLnBrk="1" fontAlgn="base" hangingPunct="1">
        <a:spcBef>
          <a:spcPct val="20000"/>
        </a:spcBef>
        <a:spcAft>
          <a:spcPct val="0"/>
        </a:spcAft>
        <a:buChar char="»"/>
        <a:defRPr sz="2991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1pPr>
      <a:lvl2pPr marL="683337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2pPr>
      <a:lvl3pPr marL="1366673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3pPr>
      <a:lvl4pPr marL="2050007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4pPr>
      <a:lvl5pPr marL="2733322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5pPr>
      <a:lvl6pPr marL="3416654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6pPr>
      <a:lvl7pPr marL="4099988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7pPr>
      <a:lvl8pPr marL="4783312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8pPr>
      <a:lvl9pPr marL="5466641" algn="l" defTabSz="1366673" rtl="0" eaLnBrk="1" latinLnBrk="0" hangingPunct="1">
        <a:defRPr sz="26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2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image" Target="../media/image63.jpe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3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4.svg"/><Relationship Id="rId5" Type="http://schemas.openxmlformats.org/officeDocument/2006/relationships/image" Target="../media/image73.png"/><Relationship Id="rId4" Type="http://schemas.openxmlformats.org/officeDocument/2006/relationships/image" Target="../media/image72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87.png"/><Relationship Id="rId3" Type="http://schemas.openxmlformats.org/officeDocument/2006/relationships/image" Target="../media/image33.png"/><Relationship Id="rId7" Type="http://schemas.openxmlformats.org/officeDocument/2006/relationships/image" Target="../media/image81.png"/><Relationship Id="rId12" Type="http://schemas.openxmlformats.org/officeDocument/2006/relationships/image" Target="../media/image86.png"/><Relationship Id="rId2" Type="http://schemas.openxmlformats.org/officeDocument/2006/relationships/notesSlide" Target="../notesSlides/notesSlide15.xml"/><Relationship Id="rId16" Type="http://schemas.openxmlformats.org/officeDocument/2006/relationships/image" Target="https://res.cloudinary.com/dym0pdv2c/image/upload/v1683211604/image001_cuab4p.png" TargetMode="External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80.png"/><Relationship Id="rId11" Type="http://schemas.openxmlformats.org/officeDocument/2006/relationships/image" Target="../media/image85.png"/><Relationship Id="rId5" Type="http://schemas.openxmlformats.org/officeDocument/2006/relationships/image" Target="../media/image79.png"/><Relationship Id="rId15" Type="http://schemas.openxmlformats.org/officeDocument/2006/relationships/image" Target="../media/image76.png"/><Relationship Id="rId10" Type="http://schemas.openxmlformats.org/officeDocument/2006/relationships/image" Target="../media/image84.png"/><Relationship Id="rId4" Type="http://schemas.openxmlformats.org/officeDocument/2006/relationships/image" Target="../media/image78.png"/><Relationship Id="rId9" Type="http://schemas.openxmlformats.org/officeDocument/2006/relationships/image" Target="../media/image83.png"/><Relationship Id="rId14" Type="http://schemas.openxmlformats.org/officeDocument/2006/relationships/image" Target="../media/image8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9.svg"/><Relationship Id="rId3" Type="http://schemas.openxmlformats.org/officeDocument/2006/relationships/image" Target="../media/image89.png"/><Relationship Id="rId7" Type="http://schemas.openxmlformats.org/officeDocument/2006/relationships/image" Target="../media/image93.svg"/><Relationship Id="rId12" Type="http://schemas.openxmlformats.org/officeDocument/2006/relationships/image" Target="../media/image9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6.xml"/><Relationship Id="rId6" Type="http://schemas.openxmlformats.org/officeDocument/2006/relationships/image" Target="../media/image92.png"/><Relationship Id="rId11" Type="http://schemas.openxmlformats.org/officeDocument/2006/relationships/image" Target="../media/image97.svg"/><Relationship Id="rId5" Type="http://schemas.openxmlformats.org/officeDocument/2006/relationships/image" Target="../media/image91.svg"/><Relationship Id="rId15" Type="http://schemas.openxmlformats.org/officeDocument/2006/relationships/image" Target="https://res.cloudinary.com/dym0pdv2c/image/upload/v1683211604/image001_cuab4p.png" TargetMode="External"/><Relationship Id="rId10" Type="http://schemas.openxmlformats.org/officeDocument/2006/relationships/image" Target="../media/image96.png"/><Relationship Id="rId4" Type="http://schemas.openxmlformats.org/officeDocument/2006/relationships/image" Target="../media/image90.png"/><Relationship Id="rId9" Type="http://schemas.openxmlformats.org/officeDocument/2006/relationships/image" Target="../media/image95.svg"/><Relationship Id="rId14" Type="http://schemas.openxmlformats.org/officeDocument/2006/relationships/hyperlink" Target="https://www.hpe.com/psnow/doc/a00058506enw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12" Type="http://schemas.openxmlformats.org/officeDocument/2006/relationships/image" Target="../media/image10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1.xml"/><Relationship Id="rId6" Type="http://schemas.openxmlformats.org/officeDocument/2006/relationships/image" Target="../media/image103.jpeg"/><Relationship Id="rId11" Type="http://schemas.openxmlformats.org/officeDocument/2006/relationships/image" Target="../media/image107.png"/><Relationship Id="rId5" Type="http://schemas.openxmlformats.org/officeDocument/2006/relationships/image" Target="../media/image102.png"/><Relationship Id="rId10" Type="http://schemas.openxmlformats.org/officeDocument/2006/relationships/image" Target="../media/image106.png"/><Relationship Id="rId4" Type="http://schemas.openxmlformats.org/officeDocument/2006/relationships/image" Target="../media/image101.png"/><Relationship Id="rId9" Type="http://schemas.openxmlformats.org/officeDocument/2006/relationships/image" Target="../media/image10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jpeg"/><Relationship Id="rId13" Type="http://schemas.openxmlformats.org/officeDocument/2006/relationships/image" Target="../media/image118.png"/><Relationship Id="rId3" Type="http://schemas.openxmlformats.org/officeDocument/2006/relationships/image" Target="../media/image33.png"/><Relationship Id="rId7" Type="http://schemas.openxmlformats.org/officeDocument/2006/relationships/image" Target="../media/image112.png"/><Relationship Id="rId12" Type="http://schemas.openxmlformats.org/officeDocument/2006/relationships/image" Target="../media/image11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111.jpeg"/><Relationship Id="rId11" Type="http://schemas.openxmlformats.org/officeDocument/2006/relationships/image" Target="../media/image116.png"/><Relationship Id="rId5" Type="http://schemas.openxmlformats.org/officeDocument/2006/relationships/image" Target="../media/image110.png"/><Relationship Id="rId10" Type="http://schemas.openxmlformats.org/officeDocument/2006/relationships/image" Target="../media/image115.png"/><Relationship Id="rId4" Type="http://schemas.openxmlformats.org/officeDocument/2006/relationships/image" Target="../media/image109.jpeg"/><Relationship Id="rId9" Type="http://schemas.openxmlformats.org/officeDocument/2006/relationships/image" Target="../media/image114.png"/><Relationship Id="rId14" Type="http://schemas.openxmlformats.org/officeDocument/2006/relationships/image" Target="../media/image1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laurent.wachter@hpe.com" TargetMode="External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48.xml"/><Relationship Id="rId5" Type="http://schemas.openxmlformats.org/officeDocument/2006/relationships/hyperlink" Target="mailto:eric.pouvreau@hpe.com" TargetMode="External"/><Relationship Id="rId4" Type="http://schemas.openxmlformats.org/officeDocument/2006/relationships/hyperlink" Target="mailto:anne-laure.camadro@hpe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8.xml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1.xml"/><Relationship Id="rId6" Type="http://schemas.openxmlformats.org/officeDocument/2006/relationships/image" Target="../media/image29.png"/><Relationship Id="rId5" Type="http://schemas.openxmlformats.org/officeDocument/2006/relationships/image" Target="../media/image8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50.bin"/><Relationship Id="rId9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2.xml"/><Relationship Id="rId6" Type="http://schemas.openxmlformats.org/officeDocument/2006/relationships/image" Target="../media/image3.jpeg"/><Relationship Id="rId11" Type="http://schemas.openxmlformats.org/officeDocument/2006/relationships/image" Target="../media/image32.png"/><Relationship Id="rId5" Type="http://schemas.openxmlformats.org/officeDocument/2006/relationships/image" Target="../media/image8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51.bin"/><Relationship Id="rId9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46.xml"/><Relationship Id="rId1" Type="http://schemas.openxmlformats.org/officeDocument/2006/relationships/tags" Target="../tags/tag53.xml"/><Relationship Id="rId6" Type="http://schemas.openxmlformats.org/officeDocument/2006/relationships/image" Target="../media/image29.png"/><Relationship Id="rId11" Type="http://schemas.openxmlformats.org/officeDocument/2006/relationships/image" Target="../media/image32.png"/><Relationship Id="rId5" Type="http://schemas.openxmlformats.org/officeDocument/2006/relationships/image" Target="../media/image8.emf"/><Relationship Id="rId10" Type="http://schemas.openxmlformats.org/officeDocument/2006/relationships/image" Target="../media/image1.png"/><Relationship Id="rId4" Type="http://schemas.openxmlformats.org/officeDocument/2006/relationships/oleObject" Target="../embeddings/oleObject52.bin"/><Relationship Id="rId9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jpeg"/><Relationship Id="rId10" Type="http://schemas.openxmlformats.org/officeDocument/2006/relationships/image" Target="../media/image40.png"/><Relationship Id="rId4" Type="http://schemas.openxmlformats.org/officeDocument/2006/relationships/image" Target="../media/image34.jpeg"/><Relationship Id="rId9" Type="http://schemas.openxmlformats.org/officeDocument/2006/relationships/image" Target="../media/image39.jpeg"/><Relationship Id="rId1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image" Target="../media/image51.png"/><Relationship Id="rId4" Type="http://schemas.openxmlformats.org/officeDocument/2006/relationships/image" Target="../media/image46.png"/><Relationship Id="rId9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FA113E8-1DFB-4B85-B950-4AC801C38E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FA113E8-1DFB-4B85-B950-4AC801C3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">
            <a:extLst>
              <a:ext uri="{FF2B5EF4-FFF2-40B4-BE49-F238E27FC236}">
                <a16:creationId xmlns:a16="http://schemas.microsoft.com/office/drawing/2014/main" id="{F05E50B2-AB22-4A7A-83F4-EBD2780391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4397" y="6134900"/>
            <a:ext cx="5489578" cy="339214"/>
          </a:xfrm>
        </p:spPr>
        <p:txBody>
          <a:bodyPr>
            <a:normAutofit fontScale="85000" lnSpcReduction="20000"/>
          </a:bodyPr>
          <a:lstStyle/>
          <a:p>
            <a:r>
              <a:rPr lang="en-US" sz="1600" dirty="0"/>
              <a:t>15 </a:t>
            </a:r>
            <a:r>
              <a:rPr lang="en-US" sz="1600" dirty="0" err="1"/>
              <a:t>Juin</a:t>
            </a:r>
            <a:r>
              <a:rPr lang="en-US" sz="1600" dirty="0">
                <a:solidFill>
                  <a:schemeClr val="bg1"/>
                </a:solidFill>
              </a:rPr>
              <a:t> 2023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940F81D8-5C7D-4F33-A461-CA45B169FF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397" y="4133087"/>
            <a:ext cx="8229600" cy="963019"/>
          </a:xfrm>
        </p:spPr>
        <p:txBody>
          <a:bodyPr>
            <a:noAutofit/>
          </a:bodyPr>
          <a:lstStyle/>
          <a:p>
            <a:r>
              <a:rPr lang="en-US" sz="2800" b="1" dirty="0"/>
              <a:t>Laurent Wachter (Commercial terrain)</a:t>
            </a:r>
          </a:p>
          <a:p>
            <a:r>
              <a:rPr lang="en-US" sz="2800" b="1" dirty="0"/>
              <a:t>Anne Laure </a:t>
            </a:r>
            <a:r>
              <a:rPr lang="en-US" sz="2800" b="1" dirty="0" err="1"/>
              <a:t>Camadro</a:t>
            </a:r>
            <a:r>
              <a:rPr lang="en-US" sz="2800" b="1" dirty="0"/>
              <a:t> (Commerciale </a:t>
            </a:r>
            <a:r>
              <a:rPr lang="en-US" sz="2800" b="1" dirty="0" err="1"/>
              <a:t>sédentaire</a:t>
            </a:r>
            <a:r>
              <a:rPr lang="en-US" sz="2800" b="1" dirty="0"/>
              <a:t>)</a:t>
            </a:r>
          </a:p>
          <a:p>
            <a:r>
              <a:rPr lang="en-US" sz="2800" b="1" dirty="0"/>
              <a:t>Eric Pouvreau (Avant-vente terrain </a:t>
            </a:r>
            <a:r>
              <a:rPr lang="en-US" sz="2800" b="1" dirty="0" err="1"/>
              <a:t>spécialiste</a:t>
            </a:r>
            <a:r>
              <a:rPr lang="en-US" sz="2800" b="1" dirty="0"/>
              <a:t> compute)</a:t>
            </a:r>
            <a:endParaRPr lang="en-US" sz="2800" b="1" dirty="0">
              <a:solidFill>
                <a:schemeClr val="bg1"/>
              </a:solidFill>
            </a:endParaRPr>
          </a:p>
          <a:p>
            <a:r>
              <a:rPr lang="en-US" sz="2800" b="1" dirty="0"/>
              <a:t>Imran FLIJJA(Avant vente </a:t>
            </a:r>
            <a:r>
              <a:rPr lang="en-US" sz="2800" b="1" dirty="0" err="1"/>
              <a:t>sédentaire</a:t>
            </a:r>
            <a:r>
              <a:rPr lang="en-US" sz="2800" b="1" dirty="0"/>
              <a:t> </a:t>
            </a:r>
            <a:r>
              <a:rPr lang="en-US" sz="2800" b="1" dirty="0" err="1"/>
              <a:t>généraliste</a:t>
            </a:r>
            <a:r>
              <a:rPr lang="en-US" sz="2800" b="1" dirty="0"/>
              <a:t>)</a:t>
            </a:r>
          </a:p>
          <a:p>
            <a:endParaRPr lang="en-US" sz="2800" dirty="0"/>
          </a:p>
          <a:p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6D650731-F75D-4A00-8A26-A472193D3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Les </a:t>
            </a:r>
            <a:r>
              <a:rPr lang="en-US" dirty="0" err="1"/>
              <a:t>nouveautés</a:t>
            </a:r>
            <a:r>
              <a:rPr lang="en-US" dirty="0"/>
              <a:t> du </a:t>
            </a:r>
            <a:r>
              <a:rPr lang="en-US" dirty="0" err="1"/>
              <a:t>portefeuille</a:t>
            </a:r>
            <a:r>
              <a:rPr lang="en-US" dirty="0"/>
              <a:t> HPE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7" name="Picture 6" descr="A black and white sign with white text&#10;&#10;Description automatically generated with low confidence">
            <a:extLst>
              <a:ext uri="{FF2B5EF4-FFF2-40B4-BE49-F238E27FC236}">
                <a16:creationId xmlns:a16="http://schemas.microsoft.com/office/drawing/2014/main" id="{77F388D5-D403-B5CE-4916-C10AC653F5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8787" y="317615"/>
            <a:ext cx="3231160" cy="8352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7A0E15B-4737-E1EA-43B6-30D15B9D83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2052" y="83357"/>
            <a:ext cx="2325302" cy="1207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5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4C642-4287-471C-9C96-C11F852C3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E Cray </a:t>
            </a:r>
            <a:r>
              <a:rPr lang="en-US" dirty="0" err="1"/>
              <a:t>conçus</a:t>
            </a:r>
            <a:r>
              <a:rPr lang="en-US" dirty="0"/>
              <a:t> pour solution de </a:t>
            </a:r>
            <a:r>
              <a:rPr lang="en-US" dirty="0" err="1"/>
              <a:t>calcul</a:t>
            </a:r>
            <a:r>
              <a:rPr lang="en-US" dirty="0"/>
              <a:t> CPU et GPU 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CE1F98AD-CEE2-4595-8F77-61D594420E0F}"/>
              </a:ext>
            </a:extLst>
          </p:cNvPr>
          <p:cNvCxnSpPr>
            <a:cxnSpLocks/>
          </p:cNvCxnSpPr>
          <p:nvPr/>
        </p:nvCxnSpPr>
        <p:spPr>
          <a:xfrm>
            <a:off x="2108699" y="5749279"/>
            <a:ext cx="7974602" cy="0"/>
          </a:xfrm>
          <a:prstGeom prst="straightConnector1">
            <a:avLst/>
          </a:prstGeom>
          <a:ln w="5715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5D9A0AF-AED3-4A35-A878-8283A81B60F0}"/>
              </a:ext>
            </a:extLst>
          </p:cNvPr>
          <p:cNvCxnSpPr>
            <a:cxnSpLocks/>
          </p:cNvCxnSpPr>
          <p:nvPr/>
        </p:nvCxnSpPr>
        <p:spPr>
          <a:xfrm flipV="1">
            <a:off x="2141491" y="1258356"/>
            <a:ext cx="0" cy="4499633"/>
          </a:xfrm>
          <a:prstGeom prst="straightConnector1">
            <a:avLst/>
          </a:prstGeom>
          <a:ln w="5715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994FE30A-E402-418A-861C-F60AFC030928}"/>
              </a:ext>
            </a:extLst>
          </p:cNvPr>
          <p:cNvSpPr txBox="1"/>
          <p:nvPr/>
        </p:nvSpPr>
        <p:spPr>
          <a:xfrm rot="16200000">
            <a:off x="-858483" y="3459638"/>
            <a:ext cx="4951245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                HPC                                     AI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4B92533-8C6A-413B-B233-19F39EA27A7E}"/>
              </a:ext>
            </a:extLst>
          </p:cNvPr>
          <p:cNvSpPr txBox="1"/>
          <p:nvPr/>
        </p:nvSpPr>
        <p:spPr>
          <a:xfrm>
            <a:off x="5698747" y="5893737"/>
            <a:ext cx="909993" cy="6463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Scale</a:t>
            </a:r>
          </a:p>
        </p:txBody>
      </p:sp>
      <p:sp>
        <p:nvSpPr>
          <p:cNvPr id="53" name="Rectangle 91">
            <a:extLst>
              <a:ext uri="{FF2B5EF4-FFF2-40B4-BE49-F238E27FC236}">
                <a16:creationId xmlns:a16="http://schemas.microsoft.com/office/drawing/2014/main" id="{0E67B57E-3A95-4902-8423-423A050A4520}"/>
              </a:ext>
            </a:extLst>
          </p:cNvPr>
          <p:cNvSpPr/>
          <p:nvPr/>
        </p:nvSpPr>
        <p:spPr>
          <a:xfrm>
            <a:off x="2477336" y="2699219"/>
            <a:ext cx="192298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Accelerated compute platform for HPC and AI workloads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8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Gpu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 Double Wid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EBAD330-00F3-4AD9-809D-1196BCE19C85}"/>
              </a:ext>
            </a:extLst>
          </p:cNvPr>
          <p:cNvGrpSpPr/>
          <p:nvPr/>
        </p:nvGrpSpPr>
        <p:grpSpPr>
          <a:xfrm>
            <a:off x="4633115" y="2469555"/>
            <a:ext cx="1819019" cy="2513195"/>
            <a:chOff x="4824732" y="2393006"/>
            <a:chExt cx="1819019" cy="2513195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37604619-2825-4997-990A-D43A7A207F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83147" y="2947770"/>
              <a:ext cx="619610" cy="1196265"/>
            </a:xfrm>
            <a:prstGeom prst="rect">
              <a:avLst/>
            </a:prstGeom>
          </p:spPr>
        </p:pic>
        <p:sp>
          <p:nvSpPr>
            <p:cNvPr id="31" name="Rectangle 19">
              <a:extLst>
                <a:ext uri="{FF2B5EF4-FFF2-40B4-BE49-F238E27FC236}">
                  <a16:creationId xmlns:a16="http://schemas.microsoft.com/office/drawing/2014/main" id="{CDA7979D-C624-44CB-BB82-ADD2F69FACFD}"/>
                </a:ext>
              </a:extLst>
            </p:cNvPr>
            <p:cNvSpPr/>
            <p:nvPr/>
          </p:nvSpPr>
          <p:spPr>
            <a:xfrm>
              <a:off x="4859099" y="2393006"/>
              <a:ext cx="1667707" cy="5355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8659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MetricHPE" panose="020B0604020202020204" pitchFamily="34" charset="0"/>
                </a:rPr>
                <a:t>HPE Superdome Flex</a:t>
              </a:r>
            </a:p>
          </p:txBody>
        </p:sp>
        <p:sp>
          <p:nvSpPr>
            <p:cNvPr id="32" name="Rectangle 190">
              <a:extLst>
                <a:ext uri="{FF2B5EF4-FFF2-40B4-BE49-F238E27FC236}">
                  <a16:creationId xmlns:a16="http://schemas.microsoft.com/office/drawing/2014/main" id="{C977BA44-08A3-4579-83CA-3775B6CBDCD2}"/>
                </a:ext>
              </a:extLst>
            </p:cNvPr>
            <p:cNvSpPr/>
            <p:nvPr/>
          </p:nvSpPr>
          <p:spPr>
            <a:xfrm>
              <a:off x="4824732" y="4232170"/>
              <a:ext cx="1819019" cy="6740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Near limitless scale-up compute/memory for   HPC and AI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2254" y="2120899"/>
            <a:ext cx="878767" cy="485822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E8C8C504-8F0C-49B1-A218-0B0F15F6BC35}"/>
              </a:ext>
            </a:extLst>
          </p:cNvPr>
          <p:cNvGrpSpPr/>
          <p:nvPr/>
        </p:nvGrpSpPr>
        <p:grpSpPr>
          <a:xfrm>
            <a:off x="2310179" y="3669792"/>
            <a:ext cx="2274274" cy="1906604"/>
            <a:chOff x="2724879" y="3629075"/>
            <a:chExt cx="2274274" cy="1906604"/>
          </a:xfrm>
        </p:grpSpPr>
        <p:sp>
          <p:nvSpPr>
            <p:cNvPr id="22" name="Rectangle 19">
              <a:extLst>
                <a:ext uri="{FF2B5EF4-FFF2-40B4-BE49-F238E27FC236}">
                  <a16:creationId xmlns:a16="http://schemas.microsoft.com/office/drawing/2014/main" id="{CDA7979D-C624-44CB-BB82-ADD2F69FACFD}"/>
                </a:ext>
              </a:extLst>
            </p:cNvPr>
            <p:cNvSpPr/>
            <p:nvPr/>
          </p:nvSpPr>
          <p:spPr>
            <a:xfrm>
              <a:off x="2941749" y="3629075"/>
              <a:ext cx="1922984" cy="5355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28659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MetricHPE" panose="020B0604020202020204" pitchFamily="34" charset="0"/>
                </a:rPr>
                <a:t>HPE Apollo 2000/Cray XD2000 </a:t>
              </a:r>
            </a:p>
          </p:txBody>
        </p:sp>
        <p:sp>
          <p:nvSpPr>
            <p:cNvPr id="52" name="Rectangle 190">
              <a:extLst>
                <a:ext uri="{FF2B5EF4-FFF2-40B4-BE49-F238E27FC236}">
                  <a16:creationId xmlns:a16="http://schemas.microsoft.com/office/drawing/2014/main" id="{C977BA44-08A3-4579-83CA-3775B6CBDCD2}"/>
                </a:ext>
              </a:extLst>
            </p:cNvPr>
            <p:cNvSpPr/>
            <p:nvPr/>
          </p:nvSpPr>
          <p:spPr>
            <a:xfrm>
              <a:off x="2724879" y="4667749"/>
              <a:ext cx="2274274" cy="8679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Density-optimized,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scale out compute for HPC and AI workload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4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Serveur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 bi-CPU sur 2U</a:t>
              </a: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21017" y="4159163"/>
              <a:ext cx="1480637" cy="534107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DE5C1C6-6364-4A09-9E59-85A203AF2B85}"/>
              </a:ext>
            </a:extLst>
          </p:cNvPr>
          <p:cNvGrpSpPr/>
          <p:nvPr/>
        </p:nvGrpSpPr>
        <p:grpSpPr>
          <a:xfrm>
            <a:off x="7805950" y="1435426"/>
            <a:ext cx="2812548" cy="2953282"/>
            <a:chOff x="7997567" y="1328518"/>
            <a:chExt cx="2812548" cy="2953282"/>
          </a:xfrm>
        </p:grpSpPr>
        <p:sp>
          <p:nvSpPr>
            <p:cNvPr id="13" name="TextBox 12"/>
            <p:cNvSpPr txBox="1"/>
            <p:nvPr/>
          </p:nvSpPr>
          <p:spPr>
            <a:xfrm>
              <a:off x="7997567" y="1328518"/>
              <a:ext cx="2812548" cy="812530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HPE Cray EX400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Supercomputer 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8532614" y="3330770"/>
              <a:ext cx="1742454" cy="951030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Leadership class Liquid-Cooled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MetricHPE" panose="020B0503030202060203" pitchFamily="34" charset="0"/>
                  <a:ea typeface="+mn-ea"/>
                  <a:cs typeface="+mn-cs"/>
                </a:rPr>
                <a:t>Converged HPC-AI</a:t>
              </a:r>
            </a:p>
          </p:txBody>
        </p:sp>
      </p:grpSp>
      <p:pic>
        <p:nvPicPr>
          <p:cNvPr id="33" name="Picture 32" descr="19967026-grp2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3490" y="2152638"/>
            <a:ext cx="2050348" cy="1412007"/>
          </a:xfrm>
          <a:prstGeom prst="rect">
            <a:avLst/>
          </a:prstGeom>
        </p:spPr>
      </p:pic>
      <p:pic>
        <p:nvPicPr>
          <p:cNvPr id="35" name="Picture 34" descr="A picture containing light, computer, dark&#10;&#10;Description automatically generated">
            <a:extLst>
              <a:ext uri="{FF2B5EF4-FFF2-40B4-BE49-F238E27FC236}">
                <a16:creationId xmlns:a16="http://schemas.microsoft.com/office/drawing/2014/main" id="{65479A3B-71AF-4C4D-8BC2-34E6948E89E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5388" y="2571804"/>
            <a:ext cx="1294418" cy="1939203"/>
          </a:xfrm>
          <a:prstGeom prst="rect">
            <a:avLst/>
          </a:prstGeom>
          <a:noFill/>
          <a:ln>
            <a:noFill/>
            <a:miter lim="800000"/>
          </a:ln>
        </p:spPr>
      </p:pic>
      <p:sp>
        <p:nvSpPr>
          <p:cNvPr id="36" name="Rectangle 19">
            <a:extLst>
              <a:ext uri="{FF2B5EF4-FFF2-40B4-BE49-F238E27FC236}">
                <a16:creationId xmlns:a16="http://schemas.microsoft.com/office/drawing/2014/main" id="{F725D5C6-A1FE-4439-B7AD-3A985F738921}"/>
              </a:ext>
            </a:extLst>
          </p:cNvPr>
          <p:cNvSpPr/>
          <p:nvPr/>
        </p:nvSpPr>
        <p:spPr>
          <a:xfrm>
            <a:off x="6558941" y="1933148"/>
            <a:ext cx="1667707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28659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MetricHPE" panose="020B0604020202020204" pitchFamily="34" charset="0"/>
              </a:rPr>
              <a:t>HPE Cray EX2500</a:t>
            </a:r>
          </a:p>
          <a:p>
            <a:pPr marL="0" marR="0" lvl="0" indent="0" algn="ctr" defTabSz="28659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MetricHPE" panose="020B0604020202020204" pitchFamily="34" charset="0"/>
              </a:rPr>
              <a:t>Supercomputer</a:t>
            </a:r>
          </a:p>
        </p:txBody>
      </p:sp>
      <p:sp>
        <p:nvSpPr>
          <p:cNvPr id="37" name="Rectangle 190">
            <a:extLst>
              <a:ext uri="{FF2B5EF4-FFF2-40B4-BE49-F238E27FC236}">
                <a16:creationId xmlns:a16="http://schemas.microsoft.com/office/drawing/2014/main" id="{5A0F0D70-0D76-471E-8C81-0F98DB2D793E}"/>
              </a:ext>
            </a:extLst>
          </p:cNvPr>
          <p:cNvSpPr/>
          <p:nvPr/>
        </p:nvSpPr>
        <p:spPr>
          <a:xfrm>
            <a:off x="6500796" y="4475632"/>
            <a:ext cx="2294565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Leadership class liquid-cooled                                                                      technology in a smaller building block </a:t>
            </a:r>
          </a:p>
        </p:txBody>
      </p:sp>
      <p:sp>
        <p:nvSpPr>
          <p:cNvPr id="34" name="Rectangle 19">
            <a:extLst>
              <a:ext uri="{FF2B5EF4-FFF2-40B4-BE49-F238E27FC236}">
                <a16:creationId xmlns:a16="http://schemas.microsoft.com/office/drawing/2014/main" id="{9FC327B7-E6A7-41FF-9840-DFCA758AEAB0}"/>
              </a:ext>
            </a:extLst>
          </p:cNvPr>
          <p:cNvSpPr/>
          <p:nvPr/>
        </p:nvSpPr>
        <p:spPr>
          <a:xfrm>
            <a:off x="2548032" y="1517254"/>
            <a:ext cx="1922984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28659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MetricHPE" panose="020B0604020202020204" pitchFamily="34" charset="0"/>
              </a:rPr>
              <a:t>HPE Apollo 6500/Cray XD6500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C3995D9-1D74-4CE8-B3E5-2221B1C7635B}"/>
              </a:ext>
            </a:extLst>
          </p:cNvPr>
          <p:cNvSpPr/>
          <p:nvPr/>
        </p:nvSpPr>
        <p:spPr bwMode="ltGray">
          <a:xfrm>
            <a:off x="2310179" y="1334881"/>
            <a:ext cx="2357302" cy="4293489"/>
          </a:xfrm>
          <a:prstGeom prst="rect">
            <a:avLst/>
          </a:prstGeom>
          <a:noFill/>
          <a:ln w="57150">
            <a:solidFill>
              <a:srgbClr val="FFC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BD4057C-2D57-424D-9453-787D8E8C2B88}"/>
              </a:ext>
            </a:extLst>
          </p:cNvPr>
          <p:cNvSpPr txBox="1"/>
          <p:nvPr/>
        </p:nvSpPr>
        <p:spPr>
          <a:xfrm>
            <a:off x="1968006" y="6329958"/>
            <a:ext cx="8936460" cy="252954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Calibri" panose="020F0502020204030204" pitchFamily="34" charset="0"/>
                <a:cs typeface="Calibri" panose="020F0502020204030204" pitchFamily="34" charset="0"/>
              </a:rPr>
              <a:t>HPE Cray XD systems bring the power of supercomputing to customers and datacenters of almost any size.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4037A3-A862-9794-5546-31871813A4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</a:t>
            </a:r>
            <a:r>
              <a:rPr lang="en-US">
                <a:solidFill>
                  <a:prstClr val="black"/>
                </a:solidFill>
              </a:rPr>
              <a:t>Authorized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6C0D80-95DD-BF9A-4C58-3491E98362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10</a:t>
            </a:fld>
            <a:endParaRPr lang="en-US"/>
          </a:p>
        </p:txBody>
      </p:sp>
      <p:sp>
        <p:nvSpPr>
          <p:cNvPr id="6" name="Rounded Rectangle 1">
            <a:extLst>
              <a:ext uri="{FF2B5EF4-FFF2-40B4-BE49-F238E27FC236}">
                <a16:creationId xmlns:a16="http://schemas.microsoft.com/office/drawing/2014/main" id="{8E3B7DFB-A136-8A1F-11ED-E6F70B82020F}"/>
              </a:ext>
            </a:extLst>
          </p:cNvPr>
          <p:cNvSpPr/>
          <p:nvPr/>
        </p:nvSpPr>
        <p:spPr bwMode="ltGray">
          <a:xfrm>
            <a:off x="9858375" y="136525"/>
            <a:ext cx="2232323" cy="812530"/>
          </a:xfrm>
          <a:prstGeom prst="roundRect">
            <a:avLst>
              <a:gd name="adj" fmla="val 10984"/>
            </a:avLst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MetricHPE" panose="020B0503030202060203" pitchFamily="34" charset="0"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  <a:t>HPE Cray Supercomputing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</a:b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rPr>
              <a:t>Optimisé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rPr>
              <a:t>pourHPC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rPr>
              <a:t> et IA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28C2EF39-91A3-6FAA-F484-7A283021CF3B}"/>
              </a:ext>
            </a:extLst>
          </p:cNvPr>
          <p:cNvCxnSpPr>
            <a:cxnSpLocks/>
          </p:cNvCxnSpPr>
          <p:nvPr/>
        </p:nvCxnSpPr>
        <p:spPr>
          <a:xfrm>
            <a:off x="2256128" y="5907730"/>
            <a:ext cx="2503010" cy="0"/>
          </a:xfrm>
          <a:prstGeom prst="straightConnector1">
            <a:avLst/>
          </a:prstGeom>
          <a:ln w="5715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90">
            <a:extLst>
              <a:ext uri="{FF2B5EF4-FFF2-40B4-BE49-F238E27FC236}">
                <a16:creationId xmlns:a16="http://schemas.microsoft.com/office/drawing/2014/main" id="{4C751F16-C184-E2CC-6106-A41DFE13ACBE}"/>
              </a:ext>
            </a:extLst>
          </p:cNvPr>
          <p:cNvSpPr/>
          <p:nvPr/>
        </p:nvSpPr>
        <p:spPr>
          <a:xfrm>
            <a:off x="2351404" y="5900858"/>
            <a:ext cx="2274274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Air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o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Ea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</a:endParaRPr>
          </a:p>
        </p:txBody>
      </p:sp>
      <p:sp>
        <p:nvSpPr>
          <p:cNvPr id="12" name="Rectangle 190">
            <a:extLst>
              <a:ext uri="{FF2B5EF4-FFF2-40B4-BE49-F238E27FC236}">
                <a16:creationId xmlns:a16="http://schemas.microsoft.com/office/drawing/2014/main" id="{A0C5AE40-588F-5372-1383-C74691EDA1F1}"/>
              </a:ext>
            </a:extLst>
          </p:cNvPr>
          <p:cNvSpPr/>
          <p:nvPr/>
        </p:nvSpPr>
        <p:spPr>
          <a:xfrm>
            <a:off x="7448654" y="5907730"/>
            <a:ext cx="2274274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Ea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D6DF1B93-4DD9-751B-3587-5BFC01652FEB}"/>
              </a:ext>
            </a:extLst>
          </p:cNvPr>
          <p:cNvCxnSpPr>
            <a:cxnSpLocks/>
          </p:cNvCxnSpPr>
          <p:nvPr/>
        </p:nvCxnSpPr>
        <p:spPr>
          <a:xfrm>
            <a:off x="6835388" y="5876425"/>
            <a:ext cx="3338422" cy="24433"/>
          </a:xfrm>
          <a:prstGeom prst="straightConnector1">
            <a:avLst/>
          </a:prstGeom>
          <a:ln w="57150">
            <a:solidFill>
              <a:srgbClr val="01A98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3514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73CE84A-B2E1-46F5-A612-92D1994D9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E </a:t>
            </a:r>
            <a:r>
              <a:rPr lang="en-US" dirty="0" err="1"/>
              <a:t>Alletra</a:t>
            </a:r>
            <a:r>
              <a:rPr lang="en-US" dirty="0"/>
              <a:t> 4000 </a:t>
            </a:r>
            <a:r>
              <a:rPr lang="en-US" dirty="0" err="1"/>
              <a:t>conçus</a:t>
            </a:r>
            <a:r>
              <a:rPr lang="en-US" dirty="0"/>
              <a:t> pour solution de stockage SDS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13943BD-8854-F7C7-BEBD-DE49DE77363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HPE Internal Use Only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2A88A07-076D-4E0B-8B03-2473251E9DAB}"/>
              </a:ext>
            </a:extLst>
          </p:cNvPr>
          <p:cNvGrpSpPr/>
          <p:nvPr/>
        </p:nvGrpSpPr>
        <p:grpSpPr>
          <a:xfrm>
            <a:off x="667563" y="3861699"/>
            <a:ext cx="4628272" cy="743221"/>
            <a:chOff x="402424" y="3794324"/>
            <a:chExt cx="4628272" cy="743221"/>
          </a:xfrm>
        </p:grpSpPr>
        <p:pic>
          <p:nvPicPr>
            <p:cNvPr id="58" name="Picture 57" descr="A picture containing electronics, projector&#10;&#10;Description automatically generated">
              <a:extLst>
                <a:ext uri="{FF2B5EF4-FFF2-40B4-BE49-F238E27FC236}">
                  <a16:creationId xmlns:a16="http://schemas.microsoft.com/office/drawing/2014/main" id="{403CAA58-D8D2-40F8-BF9A-D23A59D662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1102" y="3846544"/>
              <a:ext cx="1195302" cy="670863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435455F-8E16-4444-94B6-F903AA1EAD92}"/>
                </a:ext>
              </a:extLst>
            </p:cNvPr>
            <p:cNvSpPr txBox="1"/>
            <p:nvPr/>
          </p:nvSpPr>
          <p:spPr>
            <a:xfrm>
              <a:off x="402424" y="3794324"/>
              <a:ext cx="4628272" cy="743221"/>
            </a:xfrm>
            <a:prstGeom prst="rect">
              <a:avLst/>
            </a:prstGeom>
            <a:noFill/>
            <a:ln w="57150">
              <a:solidFill>
                <a:schemeClr val="accent5"/>
              </a:solidFill>
              <a:miter lim="800000"/>
            </a:ln>
          </p:spPr>
          <p:txBody>
            <a:bodyPr wrap="square" lIns="137160" tIns="90000" rIns="90000" bIns="9000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Apollo 4510 Gen10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600" dirty="0">
                  <a:latin typeface="MetricHPE"/>
                </a:rPr>
                <a:t>Haute </a:t>
              </a:r>
              <a:r>
                <a:rPr lang="en-US" sz="1600" dirty="0" err="1">
                  <a:latin typeface="MetricHPE"/>
                </a:rPr>
                <a:t>capacité</a:t>
              </a:r>
              <a:r>
                <a:rPr lang="en-US" sz="1600" dirty="0">
                  <a:latin typeface="MetricHPE"/>
                </a:rPr>
                <a:t>, </a:t>
              </a:r>
              <a:r>
                <a:rPr lang="en-US" sz="1600" dirty="0" err="1">
                  <a:latin typeface="MetricHPE"/>
                </a:rPr>
                <a:t>hybride-NVMe</a:t>
              </a:r>
              <a:endParaRPr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"/>
              </a:endParaRP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99505B7-9066-400A-93E4-59C8140D3258}"/>
              </a:ext>
            </a:extLst>
          </p:cNvPr>
          <p:cNvCxnSpPr>
            <a:cxnSpLocks/>
          </p:cNvCxnSpPr>
          <p:nvPr/>
        </p:nvCxnSpPr>
        <p:spPr>
          <a:xfrm flipH="1">
            <a:off x="402424" y="5501951"/>
            <a:ext cx="11381589" cy="0"/>
          </a:xfrm>
          <a:prstGeom prst="line">
            <a:avLst/>
          </a:prstGeom>
          <a:ln w="57150">
            <a:gradFill flip="none" rotWithShape="1">
              <a:gsLst>
                <a:gs pos="0">
                  <a:schemeClr val="accent5"/>
                </a:gs>
                <a:gs pos="100000">
                  <a:schemeClr val="accent4"/>
                </a:gs>
              </a:gsLst>
              <a:lin ang="10800000" scaled="1"/>
              <a:tileRect/>
            </a:gradFill>
            <a:prstDash val="solid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D8020F6-C452-4A5F-B72A-52529A4358C2}"/>
              </a:ext>
            </a:extLst>
          </p:cNvPr>
          <p:cNvSpPr txBox="1"/>
          <p:nvPr/>
        </p:nvSpPr>
        <p:spPr>
          <a:xfrm flipH="1">
            <a:off x="667563" y="5041131"/>
            <a:ext cx="929165" cy="1938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defRPr/>
            </a:pPr>
            <a:r>
              <a:rPr lang="en-US" sz="1400" b="1" i="1" dirty="0">
                <a:latin typeface="MetricHPE"/>
              </a:rPr>
              <a:t>Cas </a:t>
            </a:r>
            <a:r>
              <a:rPr lang="en-US" sz="1400" b="1" i="1" dirty="0" err="1">
                <a:latin typeface="MetricHPE"/>
              </a:rPr>
              <a:t>d'usages</a:t>
            </a:r>
            <a:endParaRPr lang="en-US" sz="1400" b="1" i="1" u="none" strike="noStrike" kern="1200" cap="none" spc="0" normalizeH="0" baseline="0" noProof="0" dirty="0" err="1">
              <a:ln>
                <a:noFill/>
              </a:ln>
              <a:effectLst/>
              <a:uLnTx/>
              <a:uFillTx/>
              <a:latin typeface="MetricHPE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6D6188-FA16-41BB-8317-58C3F192FD76}"/>
              </a:ext>
            </a:extLst>
          </p:cNvPr>
          <p:cNvSpPr txBox="1"/>
          <p:nvPr/>
        </p:nvSpPr>
        <p:spPr>
          <a:xfrm flipH="1">
            <a:off x="667563" y="5768870"/>
            <a:ext cx="779701" cy="1938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Workload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90E066-81E4-49D0-AD37-10DEFF1A9854}"/>
              </a:ext>
            </a:extLst>
          </p:cNvPr>
          <p:cNvSpPr txBox="1"/>
          <p:nvPr/>
        </p:nvSpPr>
        <p:spPr>
          <a:xfrm flipH="1">
            <a:off x="7446371" y="4936615"/>
            <a:ext cx="1495474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ML training &amp; inferenc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2CBD92D-33A6-4958-A8EA-FC6F03EBA0E3}"/>
              </a:ext>
            </a:extLst>
          </p:cNvPr>
          <p:cNvSpPr txBox="1"/>
          <p:nvPr/>
        </p:nvSpPr>
        <p:spPr>
          <a:xfrm flipH="1">
            <a:off x="6623272" y="5173348"/>
            <a:ext cx="1084721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Modern data lak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73B9376-9622-4BCB-80C6-CFC6690D4050}"/>
              </a:ext>
            </a:extLst>
          </p:cNvPr>
          <p:cNvSpPr txBox="1"/>
          <p:nvPr/>
        </p:nvSpPr>
        <p:spPr>
          <a:xfrm flipH="1">
            <a:off x="5812100" y="4936615"/>
            <a:ext cx="1072794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Video surveillanc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09AD9D8-2363-43F4-8AAD-FEB1CA31388D}"/>
              </a:ext>
            </a:extLst>
          </p:cNvPr>
          <p:cNvSpPr txBox="1"/>
          <p:nvPr/>
        </p:nvSpPr>
        <p:spPr>
          <a:xfrm flipH="1">
            <a:off x="5114805" y="5173348"/>
            <a:ext cx="958917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Medical imagin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15811EB-D520-4F4D-9764-B7F3D8C9F480}"/>
              </a:ext>
            </a:extLst>
          </p:cNvPr>
          <p:cNvSpPr txBox="1"/>
          <p:nvPr/>
        </p:nvSpPr>
        <p:spPr>
          <a:xfrm flipH="1">
            <a:off x="4167185" y="4936615"/>
            <a:ext cx="1209242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Ready-to-share da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6362422-511F-410D-82E3-39AF327F07F5}"/>
              </a:ext>
            </a:extLst>
          </p:cNvPr>
          <p:cNvSpPr txBox="1"/>
          <p:nvPr/>
        </p:nvSpPr>
        <p:spPr>
          <a:xfrm flipH="1">
            <a:off x="1781812" y="4936615"/>
            <a:ext cx="1379737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Consolidation &amp; offload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7CAC4F8-A51C-48F2-9665-AAE2F1E4060A}"/>
              </a:ext>
            </a:extLst>
          </p:cNvPr>
          <p:cNvSpPr txBox="1"/>
          <p:nvPr/>
        </p:nvSpPr>
        <p:spPr>
          <a:xfrm flipH="1">
            <a:off x="2899927" y="5173348"/>
            <a:ext cx="1528880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Compliance &amp; e-discover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FC2DFAE-09CA-470F-97A8-792C287FCDDD}"/>
              </a:ext>
            </a:extLst>
          </p:cNvPr>
          <p:cNvSpPr txBox="1"/>
          <p:nvPr/>
        </p:nvSpPr>
        <p:spPr>
          <a:xfrm flipH="1">
            <a:off x="8680223" y="5173348"/>
            <a:ext cx="1464633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tream &amp; batch analytic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CA33765-204A-43A2-B4CB-3A2367BF43AC}"/>
              </a:ext>
            </a:extLst>
          </p:cNvPr>
          <p:cNvSpPr txBox="1"/>
          <p:nvPr/>
        </p:nvSpPr>
        <p:spPr>
          <a:xfrm flipH="1">
            <a:off x="9883235" y="4936615"/>
            <a:ext cx="1530805" cy="1661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Real-time data processing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9936BD4A-BA98-49BF-A554-38F3C7CCB620}"/>
              </a:ext>
            </a:extLst>
          </p:cNvPr>
          <p:cNvSpPr txBox="1"/>
          <p:nvPr/>
        </p:nvSpPr>
        <p:spPr>
          <a:xfrm flipH="1">
            <a:off x="6329303" y="5699621"/>
            <a:ext cx="819775" cy="3323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Converged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data analytic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974E416-B4B2-412D-8480-17435623C683}"/>
              </a:ext>
            </a:extLst>
          </p:cNvPr>
          <p:cNvSpPr txBox="1"/>
          <p:nvPr/>
        </p:nvSpPr>
        <p:spPr>
          <a:xfrm flipH="1">
            <a:off x="3397680" y="5699621"/>
            <a:ext cx="907620" cy="3323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Converged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data protection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23739F1-2AF4-4F2D-97CE-B49060F52EC3}"/>
              </a:ext>
            </a:extLst>
          </p:cNvPr>
          <p:cNvSpPr txBox="1"/>
          <p:nvPr/>
        </p:nvSpPr>
        <p:spPr>
          <a:xfrm flipH="1">
            <a:off x="1776762" y="5699621"/>
            <a:ext cx="1017330" cy="3323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Backup &amp; archive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target storag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1A9A496-7107-4826-9263-66E51A9CDC8D}"/>
              </a:ext>
            </a:extLst>
          </p:cNvPr>
          <p:cNvSpPr txBox="1"/>
          <p:nvPr/>
        </p:nvSpPr>
        <p:spPr>
          <a:xfrm flipH="1">
            <a:off x="7752666" y="5699621"/>
            <a:ext cx="810286" cy="3323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Data storage-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centric HCI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B77FAF3-BEB1-4EC5-939C-23D85E8EC0B3}"/>
              </a:ext>
            </a:extLst>
          </p:cNvPr>
          <p:cNvSpPr txBox="1"/>
          <p:nvPr/>
        </p:nvSpPr>
        <p:spPr>
          <a:xfrm flipH="1">
            <a:off x="4908888" y="5699621"/>
            <a:ext cx="816827" cy="3323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Discrete file &amp;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object SDS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8D4A47B-CD36-4099-853E-2A250B658ED4}"/>
              </a:ext>
            </a:extLst>
          </p:cNvPr>
          <p:cNvSpPr txBox="1"/>
          <p:nvPr/>
        </p:nvSpPr>
        <p:spPr>
          <a:xfrm flipH="1">
            <a:off x="10361765" y="5699621"/>
            <a:ext cx="1052275" cy="3323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Distributed &amp;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NoSQL database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0230FC5-51DD-4E83-8FEB-591463E8C85A}"/>
              </a:ext>
            </a:extLst>
          </p:cNvPr>
          <p:cNvSpPr txBox="1"/>
          <p:nvPr/>
        </p:nvSpPr>
        <p:spPr>
          <a:xfrm flipH="1">
            <a:off x="9166540" y="5699621"/>
            <a:ext cx="591637" cy="33239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Discrete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block SDS</a:t>
            </a: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A2947C9E-CC52-40D5-B783-DBB185D2F0AB}"/>
              </a:ext>
            </a:extLst>
          </p:cNvPr>
          <p:cNvGrpSpPr/>
          <p:nvPr/>
        </p:nvGrpSpPr>
        <p:grpSpPr>
          <a:xfrm>
            <a:off x="6785768" y="1057979"/>
            <a:ext cx="4628272" cy="743221"/>
            <a:chOff x="7155741" y="990604"/>
            <a:chExt cx="4628272" cy="743221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5DEFCE3-3F05-4A03-BC53-39E1E5518B73}"/>
                </a:ext>
              </a:extLst>
            </p:cNvPr>
            <p:cNvSpPr txBox="1"/>
            <p:nvPr/>
          </p:nvSpPr>
          <p:spPr>
            <a:xfrm>
              <a:off x="7155741" y="990604"/>
              <a:ext cx="4628272" cy="743221"/>
            </a:xfrm>
            <a:prstGeom prst="rect">
              <a:avLst/>
            </a:prstGeom>
            <a:noFill/>
            <a:ln w="57150">
              <a:solidFill>
                <a:schemeClr val="accent4"/>
              </a:solidFill>
              <a:miter lim="800000"/>
            </a:ln>
          </p:spPr>
          <p:txBody>
            <a:bodyPr wrap="square" lIns="137160" tIns="90000" rIns="90000" bIns="9000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Alletra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 4110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Performance </a:t>
              </a:r>
              <a:r>
                <a:rPr lang="en-US" sz="1600" dirty="0">
                  <a:latin typeface="MetricHPE"/>
                </a:rPr>
                <a:t>tout-</a:t>
              </a:r>
              <a:r>
                <a:rPr lang="en-US" sz="1600" dirty="0" err="1">
                  <a:latin typeface="MetricHPE"/>
                </a:rPr>
                <a:t>NVMe</a:t>
              </a:r>
              <a:endParaRPr lang="en-US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"/>
              </a:endParaRPr>
            </a:p>
          </p:txBody>
        </p:sp>
        <p:pic>
          <p:nvPicPr>
            <p:cNvPr id="43" name="Content Placeholder 11">
              <a:extLst>
                <a:ext uri="{FF2B5EF4-FFF2-40B4-BE49-F238E27FC236}">
                  <a16:creationId xmlns:a16="http://schemas.microsoft.com/office/drawing/2014/main" id="{674FA96D-0B30-48BD-9B0D-31567DA541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61772" y="1178508"/>
              <a:ext cx="938739" cy="367409"/>
            </a:xfrm>
            <a:prstGeom prst="rect">
              <a:avLst/>
            </a:prstGeom>
            <a:noFill/>
            <a:ln w="57150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Content Placeholder 12" descr="20299190.psd">
              <a:extLst>
                <a:ext uri="{FF2B5EF4-FFF2-40B4-BE49-F238E27FC236}">
                  <a16:creationId xmlns:a16="http://schemas.microsoft.com/office/drawing/2014/main" id="{A34227A3-3A90-4AF3-8347-6132AB40ACC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53732" y="1203507"/>
              <a:ext cx="938463" cy="317413"/>
            </a:xfrm>
            <a:prstGeom prst="rect">
              <a:avLst/>
            </a:prstGeom>
            <a:ln w="57150">
              <a:noFill/>
              <a:miter lim="800000"/>
            </a:ln>
          </p:spPr>
        </p:pic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A5886C1-4500-40DC-83EC-21153BC22B3D}"/>
              </a:ext>
            </a:extLst>
          </p:cNvPr>
          <p:cNvGrpSpPr/>
          <p:nvPr/>
        </p:nvGrpSpPr>
        <p:grpSpPr>
          <a:xfrm>
            <a:off x="4746367" y="1992552"/>
            <a:ext cx="4628272" cy="743221"/>
            <a:chOff x="4904636" y="1924666"/>
            <a:chExt cx="4628272" cy="74322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BB8E3C5-D1DE-4F71-B5CE-A79FAFF1C98F}"/>
                </a:ext>
              </a:extLst>
            </p:cNvPr>
            <p:cNvSpPr txBox="1"/>
            <p:nvPr/>
          </p:nvSpPr>
          <p:spPr>
            <a:xfrm>
              <a:off x="4904636" y="1924666"/>
              <a:ext cx="4628272" cy="743221"/>
            </a:xfrm>
            <a:prstGeom prst="rect">
              <a:avLst/>
            </a:prstGeom>
            <a:noFill/>
            <a:ln w="57150">
              <a:solidFill>
                <a:schemeClr val="accent4"/>
              </a:solidFill>
              <a:miter lim="800000"/>
            </a:ln>
          </p:spPr>
          <p:txBody>
            <a:bodyPr wrap="square" lIns="137160" tIns="90000" rIns="90000" bIns="9000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Alletra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 4120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600" dirty="0" err="1">
                  <a:latin typeface="MetricHPE"/>
                </a:rPr>
                <a:t>Accéléré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, flexible</a:t>
              </a:r>
              <a:r>
                <a:rPr lang="en-US" sz="1600" dirty="0">
                  <a:latin typeface="MetricHPE"/>
                </a:rPr>
                <a:t> et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 </a:t>
              </a:r>
              <a:r>
                <a:rPr lang="en-US" sz="1600" dirty="0" err="1">
                  <a:latin typeface="MetricHPE"/>
                </a:rPr>
                <a:t>hybride</a:t>
              </a:r>
              <a:r>
                <a:rPr lang="en-US" sz="1600" dirty="0">
                  <a:latin typeface="MetricHPE"/>
                </a:rPr>
                <a:t> </a:t>
              </a:r>
              <a:r>
                <a:rPr lang="en-US" sz="1600" dirty="0" err="1">
                  <a:latin typeface="MetricHPE"/>
                </a:rPr>
                <a:t>NVMe</a:t>
              </a:r>
              <a:endParaRPr lang="en-US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"/>
              </a:endParaRPr>
            </a:p>
          </p:txBody>
        </p:sp>
        <p:pic>
          <p:nvPicPr>
            <p:cNvPr id="45" name="Picture 2">
              <a:extLst>
                <a:ext uri="{FF2B5EF4-FFF2-40B4-BE49-F238E27FC236}">
                  <a16:creationId xmlns:a16="http://schemas.microsoft.com/office/drawing/2014/main" id="{8C0A56AA-2D3D-4C54-83A9-66F6D85F050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082" b="8329"/>
            <a:stretch/>
          </p:blipFill>
          <p:spPr bwMode="auto">
            <a:xfrm>
              <a:off x="7673017" y="2016369"/>
              <a:ext cx="1109122" cy="581734"/>
            </a:xfrm>
            <a:prstGeom prst="rect">
              <a:avLst/>
            </a:prstGeom>
            <a:noFill/>
            <a:ln w="57150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4">
              <a:extLst>
                <a:ext uri="{FF2B5EF4-FFF2-40B4-BE49-F238E27FC236}">
                  <a16:creationId xmlns:a16="http://schemas.microsoft.com/office/drawing/2014/main" id="{616485F7-78CE-4964-869E-585BC698E61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4835" y="2000850"/>
              <a:ext cx="853688" cy="631474"/>
            </a:xfrm>
            <a:prstGeom prst="rect">
              <a:avLst/>
            </a:prstGeom>
            <a:noFill/>
            <a:ln w="57150">
              <a:noFill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D903AE1C-8DE5-44A5-8C02-67D4B8E4C8A2}"/>
              </a:ext>
            </a:extLst>
          </p:cNvPr>
          <p:cNvGrpSpPr/>
          <p:nvPr/>
        </p:nvGrpSpPr>
        <p:grpSpPr>
          <a:xfrm>
            <a:off x="2706965" y="2927125"/>
            <a:ext cx="4628272" cy="743221"/>
            <a:chOff x="2653530" y="2860261"/>
            <a:chExt cx="4628272" cy="743221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6AEB2CE-4E3F-490D-97A3-CCC202F46D5F}"/>
                </a:ext>
              </a:extLst>
            </p:cNvPr>
            <p:cNvSpPr txBox="1"/>
            <p:nvPr/>
          </p:nvSpPr>
          <p:spPr>
            <a:xfrm>
              <a:off x="2653530" y="2860261"/>
              <a:ext cx="4628272" cy="743221"/>
            </a:xfrm>
            <a:prstGeom prst="rect">
              <a:avLst/>
            </a:prstGeom>
            <a:noFill/>
            <a:ln w="57150">
              <a:solidFill>
                <a:schemeClr val="accent5"/>
              </a:solidFill>
              <a:miter lim="800000"/>
            </a:ln>
          </p:spPr>
          <p:txBody>
            <a:bodyPr wrap="square" lIns="137160" tIns="90000" rIns="90000" bIns="9000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Apollo 4200 Gen10 Plus</a:t>
              </a:r>
            </a:p>
            <a:p>
              <a:pPr>
                <a:lnSpc>
                  <a:spcPct val="90000"/>
                </a:lnSpc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ea typeface="+mn-ea"/>
                  <a:cs typeface="+mn-cs"/>
                </a:rPr>
                <a:t>Ultra-dense, flexible </a:t>
              </a:r>
              <a:r>
                <a:rPr lang="en-US" sz="1600" dirty="0" err="1">
                  <a:latin typeface="MetricHPE"/>
                </a:rPr>
                <a:t>hybride</a:t>
              </a:r>
              <a:r>
                <a:rPr lang="en-US" sz="1600" dirty="0">
                  <a:latin typeface="MetricHPE"/>
                </a:rPr>
                <a:t> </a:t>
              </a:r>
              <a:r>
                <a:rPr lang="en-US" sz="1600" dirty="0" err="1">
                  <a:latin typeface="MetricHPE"/>
                </a:rPr>
                <a:t>NVMe</a:t>
              </a:r>
              <a:endParaRPr lang="en-US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"/>
              </a:endParaRPr>
            </a:p>
          </p:txBody>
        </p:sp>
        <p:pic>
          <p:nvPicPr>
            <p:cNvPr id="54" name="Picture 53" descr="A close-up of a computer&#10;&#10;Description automatically generated with low confidence">
              <a:extLst>
                <a:ext uri="{FF2B5EF4-FFF2-40B4-BE49-F238E27FC236}">
                  <a16:creationId xmlns:a16="http://schemas.microsoft.com/office/drawing/2014/main" id="{771E6DB9-F239-47AF-BCA5-C1A227E19C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86"/>
            <a:stretch/>
          </p:blipFill>
          <p:spPr>
            <a:xfrm>
              <a:off x="5497742" y="2930344"/>
              <a:ext cx="860024" cy="622295"/>
            </a:xfrm>
            <a:prstGeom prst="rect">
              <a:avLst/>
            </a:prstGeom>
          </p:spPr>
        </p:pic>
        <p:pic>
          <p:nvPicPr>
            <p:cNvPr id="52" name="Picture 51" descr="A picture containing electronics&#10;&#10;Description automatically generated">
              <a:extLst>
                <a:ext uri="{FF2B5EF4-FFF2-40B4-BE49-F238E27FC236}">
                  <a16:creationId xmlns:a16="http://schemas.microsoft.com/office/drawing/2014/main" id="{243CF154-15FC-45A7-A791-795C40F67A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8"/>
            <a:stretch/>
          </p:blipFill>
          <p:spPr>
            <a:xfrm>
              <a:off x="6357766" y="2948446"/>
              <a:ext cx="889160" cy="586090"/>
            </a:xfrm>
            <a:prstGeom prst="rect">
              <a:avLst/>
            </a:prstGeom>
          </p:spPr>
        </p:pic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073FDCC0-3479-4E7D-890B-AEBF6408B82C}"/>
              </a:ext>
            </a:extLst>
          </p:cNvPr>
          <p:cNvSpPr txBox="1"/>
          <p:nvPr/>
        </p:nvSpPr>
        <p:spPr>
          <a:xfrm>
            <a:off x="9475618" y="1989561"/>
            <a:ext cx="1938752" cy="743221"/>
          </a:xfrm>
          <a:prstGeom prst="rect">
            <a:avLst/>
          </a:prstGeom>
          <a:noFill/>
          <a:ln w="38100">
            <a:noFill/>
            <a:miter lim="800000"/>
          </a:ln>
        </p:spPr>
        <p:txBody>
          <a:bodyPr wrap="square" lIns="137160" tIns="90000" rIns="90000" bIns="90000" rtlCol="0" anchor="ctr" anchorCtr="0"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1600" dirty="0" err="1"/>
              <a:t>Inclut</a:t>
            </a:r>
            <a:r>
              <a:rPr lang="en-US" sz="1600" dirty="0"/>
              <a:t> la gestion du cycle de vie de la </a:t>
            </a:r>
            <a:r>
              <a:rPr lang="en-US" sz="1600" dirty="0" err="1"/>
              <a:t>flotte</a:t>
            </a:r>
            <a:r>
              <a:rPr lang="en-US" sz="1600" dirty="0"/>
              <a:t> </a:t>
            </a:r>
            <a:r>
              <a:rPr lang="en-US" sz="1600" dirty="0" err="1"/>
              <a:t>en</a:t>
            </a:r>
            <a:r>
              <a:rPr lang="en-US" sz="1600" dirty="0"/>
              <a:t> mode SaaS</a:t>
            </a:r>
            <a:endParaRPr lang="en-US" dirty="0"/>
          </a:p>
        </p:txBody>
      </p:sp>
      <p:sp>
        <p:nvSpPr>
          <p:cNvPr id="22" name="Slide Number Placeholder 21">
            <a:extLst>
              <a:ext uri="{FF2B5EF4-FFF2-40B4-BE49-F238E27FC236}">
                <a16:creationId xmlns:a16="http://schemas.microsoft.com/office/drawing/2014/main" id="{16EF841F-9C1F-7C0A-7953-8338AAD25D5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11</a:t>
            </a:fld>
            <a:endParaRPr lang="en-US"/>
          </a:p>
        </p:txBody>
      </p:sp>
      <p:sp>
        <p:nvSpPr>
          <p:cNvPr id="2" name="Rounded Rectangle 2">
            <a:extLst>
              <a:ext uri="{FF2B5EF4-FFF2-40B4-BE49-F238E27FC236}">
                <a16:creationId xmlns:a16="http://schemas.microsoft.com/office/drawing/2014/main" id="{8989C9DB-4811-9DE1-6A0D-82BED40B0111}"/>
              </a:ext>
            </a:extLst>
          </p:cNvPr>
          <p:cNvSpPr/>
          <p:nvPr/>
        </p:nvSpPr>
        <p:spPr bwMode="ltGray">
          <a:xfrm>
            <a:off x="9866107" y="62399"/>
            <a:ext cx="2258561" cy="646559"/>
          </a:xfrm>
          <a:prstGeom prst="roundRect">
            <a:avLst>
              <a:gd name="adj" fmla="val 8968"/>
            </a:avLst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MetricHPE" panose="020B0503030202060203" pitchFamily="34" charset="0"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  <a:t>HPE </a:t>
            </a:r>
            <a:r>
              <a:rPr kumimoji="0" lang="en-US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  <a:t>Alletra</a:t>
            </a: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  <a:t> Storage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</a:b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rPr>
              <a:t>Optimisé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rPr>
              <a:t> pour Big Data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rPr>
              <a:t>et stockage scalable  SDS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 panose="020B0503030202060203" pitchFamily="34" charset="77"/>
              <a:ea typeface="+mn-ea"/>
              <a:cs typeface="+mn-cs"/>
              <a:sym typeface="MetricHP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371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1C59895D-B347-49E3-BE22-828445B70A80}"/>
              </a:ext>
            </a:extLst>
          </p:cNvPr>
          <p:cNvSpPr txBox="1"/>
          <p:nvPr/>
        </p:nvSpPr>
        <p:spPr>
          <a:xfrm>
            <a:off x="-94291" y="2653093"/>
            <a:ext cx="11839198" cy="1111277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45720" tIns="91440" rIns="45720" bIns="91440" rtlCol="0" anchor="b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6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HPE ALLETRA</a:t>
            </a:r>
            <a:r>
              <a:rPr lang="en-US" sz="9600" b="1" cap="all" dirty="0">
                <a:solidFill>
                  <a:prstClr val="white"/>
                </a:solidFill>
                <a:latin typeface="MetricHPE" panose="020B0503030202060203" pitchFamily="34" charset="0"/>
              </a:rPr>
              <a:t>: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all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Greenlake</a:t>
            </a:r>
            <a:r>
              <a:rPr kumimoji="0" lang="en-US" sz="6000" b="1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</a:rPr>
              <a:t> for block/file storage MP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4CF828-9E74-42BC-BAFC-506D6602041E}"/>
              </a:ext>
            </a:extLst>
          </p:cNvPr>
          <p:cNvSpPr/>
          <p:nvPr/>
        </p:nvSpPr>
        <p:spPr>
          <a:xfrm>
            <a:off x="994060" y="3062639"/>
            <a:ext cx="18407776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sng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60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0AD8D4-FFC8-51A8-5814-875741ADF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dirty="0" err="1">
                <a:solidFill>
                  <a:schemeClr val="bg1"/>
                </a:solidFill>
              </a:rPr>
              <a:t>Pourquo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révolutionner</a:t>
            </a:r>
            <a:r>
              <a:rPr lang="en-US" dirty="0">
                <a:solidFill>
                  <a:schemeClr val="bg1"/>
                </a:solidFill>
              </a:rPr>
              <a:t> le stockage 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CFB5410-4514-7420-8F7B-5547AE03D8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557961" y="5991089"/>
            <a:ext cx="684344" cy="365125"/>
          </a:xfrm>
        </p:spPr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4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4"/>
                </a:buBlip>
                <a:tabLst/>
                <a:defRPr/>
              </a:pPr>
              <a:t>13</a:t>
            </a:fld>
            <a:endParaRPr kumimoji="0" lang="en-US" sz="2000" b="0" i="0" u="none" strike="noStrike" kern="1200" cap="all" spc="0" normalizeH="0" baseline="1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D25F68-7FA3-7620-1CF4-ABDEFF09C76D}"/>
              </a:ext>
            </a:extLst>
          </p:cNvPr>
          <p:cNvGrpSpPr/>
          <p:nvPr/>
        </p:nvGrpSpPr>
        <p:grpSpPr>
          <a:xfrm>
            <a:off x="695583" y="1061282"/>
            <a:ext cx="11555605" cy="2422848"/>
            <a:chOff x="331596" y="1851395"/>
            <a:chExt cx="11555605" cy="242284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7AEFDEE-BC90-B2B6-18AB-C366E0C951EF}"/>
                </a:ext>
              </a:extLst>
            </p:cNvPr>
            <p:cNvSpPr/>
            <p:nvPr/>
          </p:nvSpPr>
          <p:spPr bwMode="ltGray">
            <a:xfrm>
              <a:off x="602798" y="1851395"/>
              <a:ext cx="10986403" cy="2422848"/>
            </a:xfrm>
            <a:prstGeom prst="rect">
              <a:avLst/>
            </a:prstGeom>
            <a:solidFill>
              <a:schemeClr val="accent1">
                <a:alpha val="90000"/>
              </a:scheme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985FB01-1D5E-C880-E108-4843304FFAFB}"/>
                </a:ext>
              </a:extLst>
            </p:cNvPr>
            <p:cNvSpPr txBox="1"/>
            <p:nvPr/>
          </p:nvSpPr>
          <p:spPr>
            <a:xfrm>
              <a:off x="331596" y="2158036"/>
              <a:ext cx="11555605" cy="478972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90000" tIns="90000" rIns="90000" bIns="9000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3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La </a:t>
              </a:r>
              <a:r>
                <a:rPr kumimoji="0" lang="en-US" sz="3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complexité</a:t>
              </a:r>
              <a:r>
                <a:rPr kumimoji="0" lang="en-US" sz="3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 de </a:t>
              </a:r>
              <a:r>
                <a:rPr kumimoji="0" lang="en-US" sz="3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l'infrastructure</a:t>
              </a:r>
              <a:r>
                <a:rPr kumimoji="0" lang="en-US" sz="3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 et de ges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entrave</a:t>
              </a: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 la </a:t>
              </a:r>
              <a:r>
                <a:rPr kumimoji="0" lang="en-US" sz="2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modernisation</a:t>
              </a: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 </a:t>
              </a:r>
              <a:r>
                <a:rPr kumimoji="0" lang="en-US" sz="2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axée</a:t>
              </a: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 sur les </a:t>
              </a:r>
              <a:r>
                <a:rPr kumimoji="0" lang="en-US" sz="2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données</a:t>
              </a: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, de la </a:t>
              </a:r>
              <a:r>
                <a:rPr kumimoji="0" lang="en-US" sz="2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périphérie</a:t>
              </a: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 au cloud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040CC17-479E-9696-03AC-34EF094B0079}"/>
                </a:ext>
              </a:extLst>
            </p:cNvPr>
            <p:cNvGrpSpPr/>
            <p:nvPr/>
          </p:nvGrpSpPr>
          <p:grpSpPr>
            <a:xfrm>
              <a:off x="928035" y="3074962"/>
              <a:ext cx="2465260" cy="958341"/>
              <a:chOff x="909746" y="2740112"/>
              <a:chExt cx="3319944" cy="1820260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F8F522AF-0832-5BB4-3EF3-9764A95C9A6D}"/>
                  </a:ext>
                </a:extLst>
              </p:cNvPr>
              <p:cNvSpPr/>
              <p:nvPr/>
            </p:nvSpPr>
            <p:spPr bwMode="ltGray">
              <a:xfrm>
                <a:off x="909746" y="2740112"/>
                <a:ext cx="3319944" cy="1820260"/>
              </a:xfrm>
              <a:prstGeom prst="rect">
                <a:avLst/>
              </a:prstGeom>
              <a:solidFill>
                <a:schemeClr val="accent1"/>
              </a:solidFill>
              <a:ln w="57150">
                <a:solidFill>
                  <a:srgbClr val="32DA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AB77CA9-A2C0-71C6-07C0-B7DA33280BBE}"/>
                  </a:ext>
                </a:extLst>
              </p:cNvPr>
              <p:cNvSpPr txBox="1"/>
              <p:nvPr/>
            </p:nvSpPr>
            <p:spPr>
              <a:xfrm>
                <a:off x="913031" y="2981330"/>
                <a:ext cx="3313378" cy="1227632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Gestion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complexe</a:t>
                </a: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46F44B86-69BA-A4CE-B261-F2942ECDA71C}"/>
                </a:ext>
              </a:extLst>
            </p:cNvPr>
            <p:cNvGrpSpPr/>
            <p:nvPr/>
          </p:nvGrpSpPr>
          <p:grpSpPr>
            <a:xfrm>
              <a:off x="6130615" y="3074962"/>
              <a:ext cx="2477250" cy="958341"/>
              <a:chOff x="6150124" y="3074962"/>
              <a:chExt cx="2477250" cy="958341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4B76A0A-E4AD-ECB5-432D-D83D00B52A09}"/>
                  </a:ext>
                </a:extLst>
              </p:cNvPr>
              <p:cNvSpPr/>
              <p:nvPr/>
            </p:nvSpPr>
            <p:spPr bwMode="ltGray">
              <a:xfrm>
                <a:off x="6150124" y="3074962"/>
                <a:ext cx="2465261" cy="958341"/>
              </a:xfrm>
              <a:prstGeom prst="rect">
                <a:avLst/>
              </a:prstGeom>
              <a:solidFill>
                <a:schemeClr val="accent1"/>
              </a:solidFill>
              <a:ln w="57150">
                <a:solidFill>
                  <a:srgbClr val="32DA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BA56780F-AF4C-5154-F87E-97A0D0D20531}"/>
                  </a:ext>
                </a:extLst>
              </p:cNvPr>
              <p:cNvSpPr txBox="1"/>
              <p:nvPr/>
            </p:nvSpPr>
            <p:spPr>
              <a:xfrm>
                <a:off x="6166990" y="3201960"/>
                <a:ext cx="2460384" cy="646331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Limite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d’évolutivité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3F7464C-B5AE-7962-B286-3AD9C1E5F73B}"/>
                </a:ext>
              </a:extLst>
            </p:cNvPr>
            <p:cNvGrpSpPr/>
            <p:nvPr/>
          </p:nvGrpSpPr>
          <p:grpSpPr>
            <a:xfrm>
              <a:off x="8743895" y="3074962"/>
              <a:ext cx="2477250" cy="958341"/>
              <a:chOff x="8743895" y="3074962"/>
              <a:chExt cx="2477250" cy="958341"/>
            </a:xfrm>
          </p:grpSpPr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EF078C9-22F7-0775-AE15-1034FA060AEE}"/>
                  </a:ext>
                </a:extLst>
              </p:cNvPr>
              <p:cNvSpPr/>
              <p:nvPr/>
            </p:nvSpPr>
            <p:spPr bwMode="ltGray">
              <a:xfrm>
                <a:off x="8743895" y="3074962"/>
                <a:ext cx="2465261" cy="958341"/>
              </a:xfrm>
              <a:prstGeom prst="rect">
                <a:avLst/>
              </a:prstGeom>
              <a:solidFill>
                <a:schemeClr val="accent1"/>
              </a:solidFill>
              <a:ln w="57150">
                <a:solidFill>
                  <a:srgbClr val="32DA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96E99D9-2D54-9D45-6D29-72EF686A6915}"/>
                  </a:ext>
                </a:extLst>
              </p:cNvPr>
              <p:cNvSpPr txBox="1"/>
              <p:nvPr/>
            </p:nvSpPr>
            <p:spPr>
              <a:xfrm>
                <a:off x="8760761" y="3201960"/>
                <a:ext cx="2460384" cy="646331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Faible</a:t>
                </a:r>
                <a:b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productivité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A54672F-6F4C-636F-656A-8EB600FD3EFD}"/>
                </a:ext>
              </a:extLst>
            </p:cNvPr>
            <p:cNvGrpSpPr/>
            <p:nvPr/>
          </p:nvGrpSpPr>
          <p:grpSpPr>
            <a:xfrm>
              <a:off x="3529325" y="3074962"/>
              <a:ext cx="2465260" cy="958341"/>
              <a:chOff x="4429997" y="2740112"/>
              <a:chExt cx="3319944" cy="1820260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732C8E40-C00F-E01F-EA06-D1CFD7703212}"/>
                  </a:ext>
                </a:extLst>
              </p:cNvPr>
              <p:cNvSpPr/>
              <p:nvPr/>
            </p:nvSpPr>
            <p:spPr bwMode="ltGray">
              <a:xfrm>
                <a:off x="4429997" y="2740112"/>
                <a:ext cx="3319944" cy="1820260"/>
              </a:xfrm>
              <a:prstGeom prst="rect">
                <a:avLst/>
              </a:prstGeom>
              <a:solidFill>
                <a:schemeClr val="accent1"/>
              </a:solidFill>
              <a:ln w="57150">
                <a:solidFill>
                  <a:srgbClr val="32DA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72A4380-A244-88BF-47BF-A2CE8E24BAC5}"/>
                  </a:ext>
                </a:extLst>
              </p:cNvPr>
              <p:cNvSpPr txBox="1"/>
              <p:nvPr/>
            </p:nvSpPr>
            <p:spPr>
              <a:xfrm>
                <a:off x="4432180" y="2981330"/>
                <a:ext cx="3313378" cy="1227632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Infrastructure</a:t>
                </a:r>
                <a:b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2000" b="1" i="0" u="none" strike="noStrike" kern="1200" cap="none" spc="0" normalizeH="0" baseline="0" noProof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en</a:t>
                </a:r>
                <a:r>
                  <a: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 silos</a:t>
                </a:r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C27238C6-75F9-893A-7502-9E1ECDF15636}"/>
              </a:ext>
            </a:extLst>
          </p:cNvPr>
          <p:cNvGrpSpPr/>
          <p:nvPr/>
        </p:nvGrpSpPr>
        <p:grpSpPr>
          <a:xfrm>
            <a:off x="707917" y="3601275"/>
            <a:ext cx="11555605" cy="2544041"/>
            <a:chOff x="331596" y="1863367"/>
            <a:chExt cx="11555605" cy="254404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116869D-254C-486D-A9D3-184197AA2ECC}"/>
                </a:ext>
              </a:extLst>
            </p:cNvPr>
            <p:cNvSpPr/>
            <p:nvPr/>
          </p:nvSpPr>
          <p:spPr bwMode="ltGray">
            <a:xfrm>
              <a:off x="602798" y="1863367"/>
              <a:ext cx="10986403" cy="2544041"/>
            </a:xfrm>
            <a:prstGeom prst="rect">
              <a:avLst/>
            </a:prstGeom>
            <a:solidFill>
              <a:schemeClr val="accent1">
                <a:alpha val="90000"/>
              </a:schemeClr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9D7143E-0B09-96DA-C8E2-8B8AAB5C9AB1}"/>
                </a:ext>
              </a:extLst>
            </p:cNvPr>
            <p:cNvSpPr txBox="1"/>
            <p:nvPr/>
          </p:nvSpPr>
          <p:spPr>
            <a:xfrm>
              <a:off x="331596" y="2184669"/>
              <a:ext cx="11555605" cy="478972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90000" tIns="90000" rIns="90000" bIns="9000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fr-FR" sz="3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Vers une expérience nouvelle</a:t>
              </a:r>
              <a:endParaRPr lang="en-US" sz="2400" dirty="0">
                <a:solidFill>
                  <a:prstClr val="white"/>
                </a:solidFill>
                <a:latin typeface="MetricHPE Light" panose="020B0303030202060203" pitchFamily="34" charset="77"/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9651F3D8-5A27-5695-30FD-CAFC334F9C50}"/>
                </a:ext>
              </a:extLst>
            </p:cNvPr>
            <p:cNvGrpSpPr/>
            <p:nvPr/>
          </p:nvGrpSpPr>
          <p:grpSpPr>
            <a:xfrm>
              <a:off x="928035" y="2905113"/>
              <a:ext cx="2465260" cy="1154823"/>
              <a:chOff x="909746" y="2417504"/>
              <a:chExt cx="3319944" cy="2193455"/>
            </a:xfrm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06CA6B3-7228-7FF5-95E6-A3D4898F1F76}"/>
                  </a:ext>
                </a:extLst>
              </p:cNvPr>
              <p:cNvSpPr/>
              <p:nvPr/>
            </p:nvSpPr>
            <p:spPr bwMode="ltGray">
              <a:xfrm>
                <a:off x="909746" y="2417504"/>
                <a:ext cx="3319944" cy="2193455"/>
              </a:xfrm>
              <a:prstGeom prst="rect">
                <a:avLst/>
              </a:prstGeom>
              <a:solidFill>
                <a:schemeClr val="accent1"/>
              </a:solidFill>
              <a:ln w="57150">
                <a:solidFill>
                  <a:srgbClr val="32DA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Experience Cloud</a:t>
                </a:r>
                <a:b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</a:b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chez </a:t>
                </a:r>
                <a:r>
                  <a:rPr kumimoji="0" lang="en-US" sz="18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vous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34D0170F-C2DB-31E5-659B-A9AF749582B6}"/>
                  </a:ext>
                </a:extLst>
              </p:cNvPr>
              <p:cNvSpPr txBox="1"/>
              <p:nvPr/>
            </p:nvSpPr>
            <p:spPr>
              <a:xfrm>
                <a:off x="913031" y="3116231"/>
                <a:ext cx="3313378" cy="701504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573C1C74-2992-0B58-9F5A-26B4F1B67999}"/>
                </a:ext>
              </a:extLst>
            </p:cNvPr>
            <p:cNvGrpSpPr/>
            <p:nvPr/>
          </p:nvGrpSpPr>
          <p:grpSpPr>
            <a:xfrm>
              <a:off x="6130615" y="2894603"/>
              <a:ext cx="2472373" cy="1165334"/>
              <a:chOff x="6150124" y="2894603"/>
              <a:chExt cx="2472373" cy="1165334"/>
            </a:xfrm>
          </p:grpSpPr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D9CBB213-653D-3E4B-0B93-3C98F68F149B}"/>
                  </a:ext>
                </a:extLst>
              </p:cNvPr>
              <p:cNvSpPr/>
              <p:nvPr/>
            </p:nvSpPr>
            <p:spPr bwMode="ltGray">
              <a:xfrm>
                <a:off x="6150124" y="2894603"/>
                <a:ext cx="2465261" cy="1165334"/>
              </a:xfrm>
              <a:prstGeom prst="rect">
                <a:avLst/>
              </a:prstGeom>
              <a:solidFill>
                <a:schemeClr val="accent1"/>
              </a:solidFill>
              <a:ln w="57150">
                <a:solidFill>
                  <a:srgbClr val="32DA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7CBAF82A-8C0B-98F2-47E2-F8A9AACA20AF}"/>
                  </a:ext>
                </a:extLst>
              </p:cNvPr>
              <p:cNvSpPr txBox="1"/>
              <p:nvPr/>
            </p:nvSpPr>
            <p:spPr>
              <a:xfrm>
                <a:off x="6162113" y="3089690"/>
                <a:ext cx="2460384" cy="757130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fr-F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Scalabilité sur 3 axes :</a:t>
                </a:r>
                <a:br>
                  <a:rPr kumimoji="0" lang="fr-F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</a:br>
                <a:r>
                  <a:rPr kumimoji="0" lang="fr-FR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performance, volumétrie et disponibilité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ECAD936-3529-3B38-AC90-62A6DD86893D}"/>
                </a:ext>
              </a:extLst>
            </p:cNvPr>
            <p:cNvGrpSpPr/>
            <p:nvPr/>
          </p:nvGrpSpPr>
          <p:grpSpPr>
            <a:xfrm>
              <a:off x="8743895" y="2905113"/>
              <a:ext cx="2468372" cy="1154823"/>
              <a:chOff x="8743895" y="2905113"/>
              <a:chExt cx="2468372" cy="1154823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E97241D-0AAD-E277-AA35-C221FB5D4884}"/>
                  </a:ext>
                </a:extLst>
              </p:cNvPr>
              <p:cNvSpPr/>
              <p:nvPr/>
            </p:nvSpPr>
            <p:spPr bwMode="ltGray">
              <a:xfrm>
                <a:off x="8743895" y="2905113"/>
                <a:ext cx="2465261" cy="1154823"/>
              </a:xfrm>
              <a:prstGeom prst="rect">
                <a:avLst/>
              </a:prstGeom>
              <a:solidFill>
                <a:schemeClr val="accent1"/>
              </a:solidFill>
              <a:ln w="57150">
                <a:solidFill>
                  <a:srgbClr val="32DA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5AF55D1B-C436-F24F-772C-D5902A9BD8D1}"/>
                  </a:ext>
                </a:extLst>
              </p:cNvPr>
              <p:cNvSpPr txBox="1"/>
              <p:nvPr/>
            </p:nvSpPr>
            <p:spPr>
              <a:xfrm>
                <a:off x="8751883" y="3148695"/>
                <a:ext cx="2460384" cy="646331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Améliorer</a:t>
                </a:r>
                <a:r>
                  <a:rPr kumimoji="0" lang="en-US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 la </a:t>
                </a:r>
                <a:r>
                  <a:rPr kumimoji="0" lang="en-US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/>
                    <a:ea typeface="+mn-ea"/>
                    <a:cs typeface="Arial" panose="020B0604020202020204" pitchFamily="34" charset="0"/>
                  </a:rPr>
                  <a:t>productivité</a:t>
                </a: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E274CF8-B6BB-8071-E90D-7EAE42612BA6}"/>
                </a:ext>
              </a:extLst>
            </p:cNvPr>
            <p:cNvGrpSpPr/>
            <p:nvPr/>
          </p:nvGrpSpPr>
          <p:grpSpPr>
            <a:xfrm>
              <a:off x="3529325" y="2905113"/>
              <a:ext cx="2465260" cy="1154823"/>
              <a:chOff x="4429997" y="2417504"/>
              <a:chExt cx="3319944" cy="2193455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C8F92807-4DE1-AD22-F4A1-1EF193B5BEAA}"/>
                  </a:ext>
                </a:extLst>
              </p:cNvPr>
              <p:cNvSpPr/>
              <p:nvPr/>
            </p:nvSpPr>
            <p:spPr bwMode="ltGray">
              <a:xfrm>
                <a:off x="4429997" y="2417504"/>
                <a:ext cx="3319944" cy="2193455"/>
              </a:xfrm>
              <a:prstGeom prst="rect">
                <a:avLst/>
              </a:prstGeom>
              <a:solidFill>
                <a:schemeClr val="accent1"/>
              </a:solidFill>
              <a:ln w="57150">
                <a:solidFill>
                  <a:srgbClr val="32DAC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36CFDDB-D701-B7F4-1483-66C3CB507B40}"/>
                  </a:ext>
                </a:extLst>
              </p:cNvPr>
              <p:cNvSpPr txBox="1"/>
              <p:nvPr/>
            </p:nvSpPr>
            <p:spPr>
              <a:xfrm>
                <a:off x="4432180" y="3116231"/>
                <a:ext cx="3313378" cy="701504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48D17776-B618-A4F1-2226-2240843E45E8}"/>
              </a:ext>
            </a:extLst>
          </p:cNvPr>
          <p:cNvSpPr txBox="1"/>
          <p:nvPr/>
        </p:nvSpPr>
        <p:spPr>
          <a:xfrm>
            <a:off x="3950027" y="4910354"/>
            <a:ext cx="2405290" cy="5909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Infrastructure unique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pour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vos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 workload</a:t>
            </a:r>
          </a:p>
        </p:txBody>
      </p:sp>
    </p:spTree>
    <p:extLst>
      <p:ext uri="{BB962C8B-B14F-4D97-AF65-F5344CB8AC3E}">
        <p14:creationId xmlns:p14="http://schemas.microsoft.com/office/powerpoint/2010/main" val="52164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BCA2B27-418C-79C6-3874-9CD8E59B98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1746" y="730836"/>
            <a:ext cx="11529254" cy="381000"/>
          </a:xfrm>
        </p:spPr>
        <p:txBody>
          <a:bodyPr/>
          <a:lstStyle/>
          <a:p>
            <a:r>
              <a:rPr lang="en-US" err="1">
                <a:latin typeface="MetricHPE Light" panose="020B0303030202060203" pitchFamily="34" charset="77"/>
              </a:rPr>
              <a:t>Construit</a:t>
            </a:r>
            <a:r>
              <a:rPr lang="en-US">
                <a:latin typeface="MetricHPE Light" panose="020B0303030202060203" pitchFamily="34" charset="77"/>
              </a:rPr>
              <a:t> sur HPE Alletra Storage MP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65F682E-3FF7-FC76-88FE-889DF8853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Une </a:t>
            </a:r>
            <a:r>
              <a:rPr lang="en-US" err="1"/>
              <a:t>plateforme</a:t>
            </a:r>
            <a:r>
              <a:rPr lang="en-US"/>
              <a:t> de stockage pour le </a:t>
            </a:r>
            <a:r>
              <a:rPr lang="en-US" err="1"/>
              <a:t>futur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3E0E5E-2985-B18A-CE23-46AED03B4CB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401B76-BD93-7344-C061-204A945C768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14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593C0E-1FF9-E579-001C-0D8720ED871D}"/>
              </a:ext>
            </a:extLst>
          </p:cNvPr>
          <p:cNvSpPr txBox="1"/>
          <p:nvPr/>
        </p:nvSpPr>
        <p:spPr>
          <a:xfrm>
            <a:off x="1126304" y="4176895"/>
            <a:ext cx="4788674" cy="163531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2400" b="1" dirty="0"/>
              <a:t>Une </a:t>
            </a:r>
            <a:r>
              <a:rPr lang="en-US" sz="2400" b="1" dirty="0" err="1"/>
              <a:t>plateforme</a:t>
            </a:r>
            <a:r>
              <a:rPr lang="en-US" sz="2400" b="1" dirty="0"/>
              <a:t>, Une experience</a:t>
            </a:r>
          </a:p>
          <a:p>
            <a:pPr marL="182880" indent="-18288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2000" dirty="0" err="1">
                <a:latin typeface="MetricHPE Light" panose="020B0303030202060203" pitchFamily="34" charset="77"/>
              </a:rPr>
              <a:t>Quelque-soit</a:t>
            </a:r>
            <a:r>
              <a:rPr lang="en-US" sz="2000" dirty="0">
                <a:latin typeface="MetricHPE Light" panose="020B0303030202060203" pitchFamily="34" charset="77"/>
              </a:rPr>
              <a:t> le </a:t>
            </a:r>
            <a:r>
              <a:rPr lang="en-US" sz="2000" dirty="0" err="1">
                <a:latin typeface="MetricHPE Light" panose="020B0303030202060203" pitchFamily="34" charset="77"/>
              </a:rPr>
              <a:t>logiciel</a:t>
            </a:r>
            <a:r>
              <a:rPr lang="en-US" sz="2000" dirty="0">
                <a:latin typeface="MetricHPE Light" panose="020B0303030202060203" pitchFamily="34" charset="77"/>
              </a:rPr>
              <a:t> de stockage </a:t>
            </a:r>
            <a:r>
              <a:rPr lang="en-US" sz="2000" dirty="0" err="1">
                <a:latin typeface="MetricHPE Light" panose="020B0303030202060203" pitchFamily="34" charset="77"/>
              </a:rPr>
              <a:t>fourni</a:t>
            </a:r>
            <a:r>
              <a:rPr lang="en-US" sz="2000" dirty="0">
                <a:latin typeface="MetricHPE Light" panose="020B0303030202060203" pitchFamily="34" charset="77"/>
              </a:rPr>
              <a:t> par HPE (Block, File, </a:t>
            </a:r>
            <a:r>
              <a:rPr lang="en-US" sz="2000" dirty="0" err="1">
                <a:latin typeface="MetricHPE Light" panose="020B0303030202060203" pitchFamily="34" charset="77"/>
              </a:rPr>
              <a:t>Objet</a:t>
            </a:r>
            <a:r>
              <a:rPr lang="en-US" sz="2000" dirty="0">
                <a:latin typeface="MetricHPE Light" panose="020B0303030202060203" pitchFamily="34" charset="77"/>
              </a:rPr>
              <a:t>)</a:t>
            </a:r>
          </a:p>
          <a:p>
            <a:pPr marL="182880" indent="-182880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MetricHPE Light" panose="020B0303030202060203" pitchFamily="34" charset="77"/>
              </a:rPr>
              <a:t>Simplification de </a:t>
            </a:r>
            <a:r>
              <a:rPr lang="en-US" sz="2000" dirty="0" err="1">
                <a:latin typeface="MetricHPE Light" panose="020B0303030202060203" pitchFamily="34" charset="77"/>
              </a:rPr>
              <a:t>l’administration</a:t>
            </a:r>
            <a:r>
              <a:rPr lang="en-US" sz="2000" dirty="0">
                <a:latin typeface="MetricHPE Light" panose="020B0303030202060203" pitchFamily="34" charset="77"/>
              </a:rPr>
              <a:t> et de </a:t>
            </a:r>
            <a:r>
              <a:rPr lang="en-US" sz="2000" dirty="0" err="1">
                <a:latin typeface="MetricHPE Light" panose="020B0303030202060203" pitchFamily="34" charset="77"/>
              </a:rPr>
              <a:t>l’évolutivité</a:t>
            </a:r>
            <a:endParaRPr lang="en-US" sz="2000" dirty="0">
              <a:latin typeface="MetricHPE Light" panose="020B0303030202060203" pitchFamily="34" charset="77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7689695-B77A-36CD-698C-653C8FDDD639}"/>
              </a:ext>
            </a:extLst>
          </p:cNvPr>
          <p:cNvGrpSpPr/>
          <p:nvPr/>
        </p:nvGrpSpPr>
        <p:grpSpPr>
          <a:xfrm>
            <a:off x="6502551" y="952013"/>
            <a:ext cx="5168692" cy="5280260"/>
            <a:chOff x="6502551" y="952013"/>
            <a:chExt cx="5168692" cy="528026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AD66B3A-9963-0A05-7E9F-44B89E40F74A}"/>
                </a:ext>
              </a:extLst>
            </p:cNvPr>
            <p:cNvSpPr txBox="1"/>
            <p:nvPr/>
          </p:nvSpPr>
          <p:spPr>
            <a:xfrm>
              <a:off x="6502551" y="952013"/>
              <a:ext cx="5168692" cy="1469120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indent="0">
                <a:lnSpc>
                  <a:spcPct val="90000"/>
                </a:lnSpc>
                <a:spcBef>
                  <a:spcPts val="400"/>
                </a:spcBef>
                <a:buFont typeface="MetricHPE" panose="020B0503030202060203" pitchFamily="34" charset="0"/>
                <a:buNone/>
              </a:pPr>
              <a:r>
                <a:rPr lang="en-US" sz="2000" b="1" dirty="0" err="1"/>
                <a:t>Scalabilité</a:t>
              </a:r>
              <a:r>
                <a:rPr lang="en-US" sz="2000" b="1" dirty="0"/>
                <a:t> sans limitation</a:t>
              </a:r>
            </a:p>
            <a:p>
              <a:pPr marL="182880" indent="-182880">
                <a:lnSpc>
                  <a:spcPct val="90000"/>
                </a:lnSpc>
                <a:spcBef>
                  <a:spcPts val="400"/>
                </a:spcBef>
                <a:buFont typeface="Arial" panose="020B0604020202020204" pitchFamily="34" charset="0"/>
                <a:buChar char="•"/>
              </a:pPr>
              <a:r>
                <a:rPr lang="en-US" dirty="0" err="1">
                  <a:latin typeface="MetricHPE Light" panose="020B0303030202060203" pitchFamily="34" charset="77"/>
                </a:rPr>
                <a:t>Scalabilité</a:t>
              </a:r>
              <a:r>
                <a:rPr lang="en-US" dirty="0">
                  <a:latin typeface="MetricHPE Light" panose="020B0303030202060203" pitchFamily="34" charset="77"/>
                </a:rPr>
                <a:t> </a:t>
              </a:r>
              <a:r>
                <a:rPr lang="en-US" dirty="0" err="1">
                  <a:latin typeface="MetricHPE Light" panose="020B0303030202060203" pitchFamily="34" charset="77"/>
                </a:rPr>
                <a:t>indépendemment</a:t>
              </a:r>
              <a:r>
                <a:rPr lang="en-US" dirty="0">
                  <a:latin typeface="MetricHPE Light" panose="020B0303030202060203" pitchFamily="34" charset="77"/>
                </a:rPr>
                <a:t> sur les </a:t>
              </a:r>
              <a:r>
                <a:rPr lang="en-US" dirty="0" err="1">
                  <a:latin typeface="MetricHPE Light" panose="020B0303030202060203" pitchFamily="34" charset="77"/>
                </a:rPr>
                <a:t>capacités</a:t>
              </a:r>
              <a:r>
                <a:rPr lang="en-US" dirty="0">
                  <a:latin typeface="MetricHPE Light" panose="020B0303030202060203" pitchFamily="34" charset="77"/>
                </a:rPr>
                <a:t> et les performances sur la meme base </a:t>
              </a:r>
              <a:r>
                <a:rPr lang="en-US" dirty="0" err="1">
                  <a:latin typeface="MetricHPE Light" panose="020B0303030202060203" pitchFamily="34" charset="77"/>
                </a:rPr>
                <a:t>matérielle</a:t>
              </a:r>
              <a:endParaRPr lang="en-US" dirty="0">
                <a:latin typeface="MetricHPE Light" panose="020B0303030202060203" pitchFamily="34" charset="77"/>
              </a:endParaRPr>
            </a:p>
            <a:p>
              <a:pPr marL="182880" indent="-182880">
                <a:lnSpc>
                  <a:spcPct val="90000"/>
                </a:lnSpc>
                <a:spcBef>
                  <a:spcPts val="400"/>
                </a:spcBef>
                <a:buFont typeface="Arial" panose="020B0604020202020204" pitchFamily="34" charset="0"/>
                <a:buChar char="•"/>
              </a:pPr>
              <a:r>
                <a:rPr lang="en-US" dirty="0" err="1">
                  <a:latin typeface="MetricHPE Light" panose="020B0303030202060203" pitchFamily="34" charset="77"/>
                </a:rPr>
                <a:t>Disponibilité</a:t>
              </a:r>
              <a:r>
                <a:rPr lang="en-US" dirty="0">
                  <a:latin typeface="MetricHPE Light" panose="020B0303030202060203" pitchFamily="34" charset="77"/>
                </a:rPr>
                <a:t> Scalable (</a:t>
              </a:r>
              <a:r>
                <a:rPr lang="en-US" dirty="0" err="1">
                  <a:latin typeface="MetricHPE Light" panose="020B0303030202060203" pitchFamily="34" charset="77"/>
                </a:rPr>
                <a:t>lié</a:t>
              </a:r>
              <a:r>
                <a:rPr lang="en-US" dirty="0">
                  <a:latin typeface="MetricHPE Light" panose="020B0303030202060203" pitchFamily="34" charset="77"/>
                </a:rPr>
                <a:t> au </a:t>
              </a:r>
              <a:r>
                <a:rPr lang="en-US" dirty="0" err="1">
                  <a:latin typeface="MetricHPE Light" panose="020B0303030202060203" pitchFamily="34" charset="77"/>
                </a:rPr>
                <a:t>nombre</a:t>
              </a:r>
              <a:r>
                <a:rPr lang="en-US" dirty="0">
                  <a:latin typeface="MetricHPE Light" panose="020B0303030202060203" pitchFamily="34" charset="77"/>
                </a:rPr>
                <a:t> de </a:t>
              </a:r>
              <a:r>
                <a:rPr lang="en-US" dirty="0" err="1">
                  <a:latin typeface="MetricHPE Light" panose="020B0303030202060203" pitchFamily="34" charset="77"/>
                </a:rPr>
                <a:t>noeuds</a:t>
              </a:r>
              <a:r>
                <a:rPr lang="en-US" dirty="0">
                  <a:latin typeface="MetricHPE Light" panose="020B0303030202060203" pitchFamily="34" charset="77"/>
                </a:rPr>
                <a:t> </a:t>
              </a:r>
              <a:r>
                <a:rPr lang="en-US" dirty="0" err="1">
                  <a:latin typeface="MetricHPE Light" panose="020B0303030202060203" pitchFamily="34" charset="77"/>
                </a:rPr>
                <a:t>Controleur</a:t>
              </a:r>
              <a:r>
                <a:rPr lang="en-US" dirty="0">
                  <a:latin typeface="MetricHPE Light" panose="020B0303030202060203" pitchFamily="34" charset="77"/>
                </a:rPr>
                <a:t>)</a:t>
              </a: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3ADF6F0-2526-07A7-B041-D88945B9035D}"/>
                </a:ext>
              </a:extLst>
            </p:cNvPr>
            <p:cNvGrpSpPr/>
            <p:nvPr/>
          </p:nvGrpSpPr>
          <p:grpSpPr>
            <a:xfrm>
              <a:off x="7553789" y="2373597"/>
              <a:ext cx="3113923" cy="3858676"/>
              <a:chOff x="7095397" y="1199920"/>
              <a:chExt cx="3891525" cy="4911978"/>
            </a:xfrm>
          </p:grpSpPr>
          <p:pic>
            <p:nvPicPr>
              <p:cNvPr id="12" name="Grafika 16">
                <a:extLst>
                  <a:ext uri="{FF2B5EF4-FFF2-40B4-BE49-F238E27FC236}">
                    <a16:creationId xmlns:a16="http://schemas.microsoft.com/office/drawing/2014/main" id="{49D644EC-76C5-9DF3-EF0A-1DAED08666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375434" y="5020159"/>
                <a:ext cx="481394" cy="481394"/>
              </a:xfrm>
              <a:prstGeom prst="rect">
                <a:avLst/>
              </a:prstGeom>
            </p:spPr>
          </p:pic>
          <p:pic>
            <p:nvPicPr>
              <p:cNvPr id="15" name="Grafika 16">
                <a:extLst>
                  <a:ext uri="{FF2B5EF4-FFF2-40B4-BE49-F238E27FC236}">
                    <a16:creationId xmlns:a16="http://schemas.microsoft.com/office/drawing/2014/main" id="{F1D28C4D-3288-8FCA-0223-4C02C4BD41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073382" y="5020159"/>
                <a:ext cx="481394" cy="481394"/>
              </a:xfrm>
              <a:prstGeom prst="rect">
                <a:avLst/>
              </a:prstGeom>
            </p:spPr>
          </p:pic>
          <p:pic>
            <p:nvPicPr>
              <p:cNvPr id="16" name="Grafika 16">
                <a:extLst>
                  <a:ext uri="{FF2B5EF4-FFF2-40B4-BE49-F238E27FC236}">
                    <a16:creationId xmlns:a16="http://schemas.microsoft.com/office/drawing/2014/main" id="{F2696504-9117-8948-69A2-A3BCCCEF72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771330" y="5020159"/>
                <a:ext cx="481394" cy="481394"/>
              </a:xfrm>
              <a:prstGeom prst="rect">
                <a:avLst/>
              </a:prstGeom>
            </p:spPr>
          </p:pic>
          <p:pic>
            <p:nvPicPr>
              <p:cNvPr id="17" name="Grafika 16">
                <a:extLst>
                  <a:ext uri="{FF2B5EF4-FFF2-40B4-BE49-F238E27FC236}">
                    <a16:creationId xmlns:a16="http://schemas.microsoft.com/office/drawing/2014/main" id="{2EC6592F-5F08-A988-E092-4FAC8E458F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469278" y="5020159"/>
                <a:ext cx="481394" cy="481394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4C0CF027-67A1-8743-8D42-63FA61B1A214}"/>
                  </a:ext>
                </a:extLst>
              </p:cNvPr>
              <p:cNvSpPr txBox="1"/>
              <p:nvPr/>
            </p:nvSpPr>
            <p:spPr>
              <a:xfrm>
                <a:off x="7095397" y="5571227"/>
                <a:ext cx="3891525" cy="540671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u="none" strike="noStrike" kern="1200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HPE </a:t>
                </a:r>
                <a:r>
                  <a:rPr kumimoji="0" lang="en-US" sz="1200" u="none" strike="noStrike" kern="1200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Alletra</a:t>
                </a:r>
                <a:r>
                  <a:rPr kumimoji="0" lang="en-US" sz="1200" u="none" strike="noStrike" kern="1200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 Storage MP Capacity Nodes</a:t>
                </a:r>
                <a:br>
                  <a:rPr kumimoji="0" lang="en-US" sz="1200" u="none" strike="noStrike" kern="1200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</a:br>
                <a:r>
                  <a:rPr kumimoji="0" lang="en-US" sz="1200" u="none" strike="noStrike" kern="1200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Données</a:t>
                </a:r>
                <a:r>
                  <a:rPr kumimoji="0" lang="en-US" sz="1200" u="none" strike="noStrike" kern="1200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 et </a:t>
                </a:r>
                <a:r>
                  <a:rPr kumimoji="0" lang="en-US" sz="1200" u="none" strike="noStrike" kern="1200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Métadonnées</a:t>
                </a:r>
                <a:endParaRPr kumimoji="0" lang="en-US" sz="1200" u="none" strike="noStrike" kern="1200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 Light" panose="020B0303030202060203" pitchFamily="34" charset="77"/>
                </a:endParaRPr>
              </a:p>
            </p:txBody>
          </p:sp>
          <p:pic>
            <p:nvPicPr>
              <p:cNvPr id="19" name="Grafika 16">
                <a:extLst>
                  <a:ext uri="{FF2B5EF4-FFF2-40B4-BE49-F238E27FC236}">
                    <a16:creationId xmlns:a16="http://schemas.microsoft.com/office/drawing/2014/main" id="{B8BBC889-C9C3-3028-35F9-AA1DC73367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0167226" y="5020159"/>
                <a:ext cx="481394" cy="481394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799F2B6C-8B0B-14C9-B1A9-CCF48068E2FB}"/>
                  </a:ext>
                </a:extLst>
              </p:cNvPr>
              <p:cNvSpPr txBox="1"/>
              <p:nvPr/>
            </p:nvSpPr>
            <p:spPr>
              <a:xfrm>
                <a:off x="7211220" y="3991536"/>
                <a:ext cx="3611488" cy="463826"/>
              </a:xfrm>
              <a:prstGeom prst="rect">
                <a:avLst/>
              </a:prstGeom>
              <a:noFill/>
              <a:ln w="38100">
                <a:solidFill>
                  <a:schemeClr val="accent1"/>
                </a:solidFill>
                <a:miter lim="800000"/>
              </a:ln>
            </p:spPr>
            <p:txBody>
              <a:bodyPr wrap="square" lIns="90000" tIns="90000" rIns="90000" bIns="90000" rtlCol="0" anchor="ctr" anchorCtr="0">
                <a:noAutofit/>
              </a:bodyPr>
              <a:lstStyle/>
              <a:p>
                <a:pPr marL="0" indent="0" algn="ctr">
                  <a:lnSpc>
                    <a:spcPct val="90000"/>
                  </a:lnSpc>
                  <a:spcBef>
                    <a:spcPts val="400"/>
                  </a:spcBef>
                  <a:buFont typeface="MetricHPE" panose="020B0503030202060203" pitchFamily="34" charset="0"/>
                  <a:buNone/>
                </a:pPr>
                <a:r>
                  <a:rPr lang="en-US" sz="1200">
                    <a:latin typeface="MetricHPE Light" panose="020B0303030202060203" pitchFamily="34" charset="77"/>
                  </a:rPr>
                  <a:t>NVME fabric</a:t>
                </a:r>
              </a:p>
            </p:txBody>
          </p:sp>
          <p:pic>
            <p:nvPicPr>
              <p:cNvPr id="23" name="Grafika 40">
                <a:extLst>
                  <a:ext uri="{FF2B5EF4-FFF2-40B4-BE49-F238E27FC236}">
                    <a16:creationId xmlns:a16="http://schemas.microsoft.com/office/drawing/2014/main" id="{35092E74-8FCA-7286-F609-AC298CB4A4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7375434" y="2983749"/>
                <a:ext cx="456057" cy="481394"/>
              </a:xfrm>
              <a:prstGeom prst="rect">
                <a:avLst/>
              </a:prstGeom>
            </p:spPr>
          </p:pic>
          <p:pic>
            <p:nvPicPr>
              <p:cNvPr id="32" name="Grafika 40">
                <a:extLst>
                  <a:ext uri="{FF2B5EF4-FFF2-40B4-BE49-F238E27FC236}">
                    <a16:creationId xmlns:a16="http://schemas.microsoft.com/office/drawing/2014/main" id="{3B8B1573-C6B9-EF20-415A-5BE774C90E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079716" y="2983749"/>
                <a:ext cx="456057" cy="481394"/>
              </a:xfrm>
              <a:prstGeom prst="rect">
                <a:avLst/>
              </a:prstGeom>
            </p:spPr>
          </p:pic>
          <p:pic>
            <p:nvPicPr>
              <p:cNvPr id="33" name="Grafika 40">
                <a:extLst>
                  <a:ext uri="{FF2B5EF4-FFF2-40B4-BE49-F238E27FC236}">
                    <a16:creationId xmlns:a16="http://schemas.microsoft.com/office/drawing/2014/main" id="{517C4227-50B9-3BC8-69EE-468AEDD846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8783998" y="2983749"/>
                <a:ext cx="456057" cy="481394"/>
              </a:xfrm>
              <a:prstGeom prst="rect">
                <a:avLst/>
              </a:prstGeom>
            </p:spPr>
          </p:pic>
          <p:pic>
            <p:nvPicPr>
              <p:cNvPr id="34" name="Grafika 40">
                <a:extLst>
                  <a:ext uri="{FF2B5EF4-FFF2-40B4-BE49-F238E27FC236}">
                    <a16:creationId xmlns:a16="http://schemas.microsoft.com/office/drawing/2014/main" id="{F5536226-2FD5-F4C9-AC01-B5509EC09D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488280" y="2983749"/>
                <a:ext cx="456057" cy="481394"/>
              </a:xfrm>
              <a:prstGeom prst="rect">
                <a:avLst/>
              </a:prstGeom>
            </p:spPr>
          </p:pic>
          <p:pic>
            <p:nvPicPr>
              <p:cNvPr id="35" name="Grafika 40">
                <a:extLst>
                  <a:ext uri="{FF2B5EF4-FFF2-40B4-BE49-F238E27FC236}">
                    <a16:creationId xmlns:a16="http://schemas.microsoft.com/office/drawing/2014/main" id="{EBE6232C-5DA5-CFF4-CC04-2B014863071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10192563" y="2983749"/>
                <a:ext cx="456057" cy="481394"/>
              </a:xfrm>
              <a:prstGeom prst="rect">
                <a:avLst/>
              </a:prstGeom>
            </p:spPr>
          </p:pic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A7451522-C0D2-FA3C-A94B-6CE6D2BCB880}"/>
                  </a:ext>
                </a:extLst>
              </p:cNvPr>
              <p:cNvGrpSpPr/>
              <p:nvPr/>
            </p:nvGrpSpPr>
            <p:grpSpPr>
              <a:xfrm>
                <a:off x="7211220" y="4527279"/>
                <a:ext cx="3611488" cy="463163"/>
                <a:chOff x="7070634" y="4139573"/>
                <a:chExt cx="3273186" cy="463163"/>
              </a:xfrm>
            </p:grpSpPr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0890AFDC-6EF0-134F-59CC-608917702D52}"/>
                    </a:ext>
                  </a:extLst>
                </p:cNvPr>
                <p:cNvSpPr/>
                <p:nvPr/>
              </p:nvSpPr>
              <p:spPr bwMode="ltGray">
                <a:xfrm>
                  <a:off x="7070634" y="4459564"/>
                  <a:ext cx="3273186" cy="143172"/>
                </a:xfrm>
                <a:custGeom>
                  <a:avLst/>
                  <a:gdLst>
                    <a:gd name="connsiteX0" fmla="*/ 0 w 3273186"/>
                    <a:gd name="connsiteY0" fmla="*/ 0 h 261257"/>
                    <a:gd name="connsiteX1" fmla="*/ 3273186 w 3273186"/>
                    <a:gd name="connsiteY1" fmla="*/ 0 h 261257"/>
                    <a:gd name="connsiteX2" fmla="*/ 3273186 w 3273186"/>
                    <a:gd name="connsiteY2" fmla="*/ 261257 h 261257"/>
                    <a:gd name="connsiteX3" fmla="*/ 0 w 3273186"/>
                    <a:gd name="connsiteY3" fmla="*/ 261257 h 261257"/>
                    <a:gd name="connsiteX4" fmla="*/ 0 w 3273186"/>
                    <a:gd name="connsiteY4" fmla="*/ 0 h 261257"/>
                    <a:gd name="connsiteX0" fmla="*/ 0 w 3273186"/>
                    <a:gd name="connsiteY0" fmla="*/ 0 h 268941"/>
                    <a:gd name="connsiteX1" fmla="*/ 3273186 w 3273186"/>
                    <a:gd name="connsiteY1" fmla="*/ 0 h 268941"/>
                    <a:gd name="connsiteX2" fmla="*/ 3273186 w 3273186"/>
                    <a:gd name="connsiteY2" fmla="*/ 261257 h 268941"/>
                    <a:gd name="connsiteX3" fmla="*/ 1197386 w 3273186"/>
                    <a:gd name="connsiteY3" fmla="*/ 268941 h 268941"/>
                    <a:gd name="connsiteX4" fmla="*/ 0 w 3273186"/>
                    <a:gd name="connsiteY4" fmla="*/ 261257 h 268941"/>
                    <a:gd name="connsiteX5" fmla="*/ 0 w 3273186"/>
                    <a:gd name="connsiteY5" fmla="*/ 0 h 268941"/>
                    <a:gd name="connsiteX0" fmla="*/ 1197386 w 3273186"/>
                    <a:gd name="connsiteY0" fmla="*/ 268941 h 360381"/>
                    <a:gd name="connsiteX1" fmla="*/ 0 w 3273186"/>
                    <a:gd name="connsiteY1" fmla="*/ 261257 h 360381"/>
                    <a:gd name="connsiteX2" fmla="*/ 0 w 3273186"/>
                    <a:gd name="connsiteY2" fmla="*/ 0 h 360381"/>
                    <a:gd name="connsiteX3" fmla="*/ 3273186 w 3273186"/>
                    <a:gd name="connsiteY3" fmla="*/ 0 h 360381"/>
                    <a:gd name="connsiteX4" fmla="*/ 3273186 w 3273186"/>
                    <a:gd name="connsiteY4" fmla="*/ 261257 h 360381"/>
                    <a:gd name="connsiteX5" fmla="*/ 1288826 w 3273186"/>
                    <a:gd name="connsiteY5" fmla="*/ 360381 h 360381"/>
                    <a:gd name="connsiteX0" fmla="*/ 1197386 w 3273186"/>
                    <a:gd name="connsiteY0" fmla="*/ 268941 h 268941"/>
                    <a:gd name="connsiteX1" fmla="*/ 0 w 3273186"/>
                    <a:gd name="connsiteY1" fmla="*/ 261257 h 268941"/>
                    <a:gd name="connsiteX2" fmla="*/ 0 w 3273186"/>
                    <a:gd name="connsiteY2" fmla="*/ 0 h 268941"/>
                    <a:gd name="connsiteX3" fmla="*/ 3273186 w 3273186"/>
                    <a:gd name="connsiteY3" fmla="*/ 0 h 268941"/>
                    <a:gd name="connsiteX4" fmla="*/ 3273186 w 3273186"/>
                    <a:gd name="connsiteY4" fmla="*/ 261257 h 268941"/>
                    <a:gd name="connsiteX0" fmla="*/ 0 w 3273186"/>
                    <a:gd name="connsiteY0" fmla="*/ 261257 h 261257"/>
                    <a:gd name="connsiteX1" fmla="*/ 0 w 3273186"/>
                    <a:gd name="connsiteY1" fmla="*/ 0 h 261257"/>
                    <a:gd name="connsiteX2" fmla="*/ 3273186 w 3273186"/>
                    <a:gd name="connsiteY2" fmla="*/ 0 h 261257"/>
                    <a:gd name="connsiteX3" fmla="*/ 3273186 w 3273186"/>
                    <a:gd name="connsiteY3" fmla="*/ 261257 h 2612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73186" h="261257">
                      <a:moveTo>
                        <a:pt x="0" y="261257"/>
                      </a:moveTo>
                      <a:lnTo>
                        <a:pt x="0" y="0"/>
                      </a:lnTo>
                      <a:lnTo>
                        <a:pt x="3273186" y="0"/>
                      </a:lnTo>
                      <a:lnTo>
                        <a:pt x="3273186" y="261257"/>
                      </a:lnTo>
                    </a:path>
                  </a:pathLst>
                </a:custGeom>
                <a:noFill/>
                <a:ln w="57150">
                  <a:solidFill>
                    <a:srgbClr val="32DAC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bIns="91440" rtlCol="0" anchor="ctr"/>
                <a:lstStyle/>
                <a:p>
                  <a:pPr algn="ctr"/>
                  <a:endParaRPr lang="en-US" sz="12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48360FD4-02A2-3626-83E9-FBC2AAE39D97}"/>
                    </a:ext>
                  </a:extLst>
                </p:cNvPr>
                <p:cNvSpPr/>
                <p:nvPr/>
              </p:nvSpPr>
              <p:spPr bwMode="ltGray">
                <a:xfrm>
                  <a:off x="8690641" y="4139573"/>
                  <a:ext cx="45719" cy="319991"/>
                </a:xfrm>
                <a:custGeom>
                  <a:avLst/>
                  <a:gdLst>
                    <a:gd name="connsiteX0" fmla="*/ 0 w 0"/>
                    <a:gd name="connsiteY0" fmla="*/ 169049 h 169049"/>
                    <a:gd name="connsiteX1" fmla="*/ 0 w 0"/>
                    <a:gd name="connsiteY1" fmla="*/ 0 h 169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169049">
                      <a:moveTo>
                        <a:pt x="0" y="169049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57150">
                  <a:solidFill>
                    <a:srgbClr val="32DAC8"/>
                  </a:solidFill>
                  <a:tailEnd type="arrow" w="med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/>
                </a:p>
              </p:txBody>
            </p:sp>
          </p:grp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76263182-711F-697D-86C4-683E04336ACC}"/>
                  </a:ext>
                </a:extLst>
              </p:cNvPr>
              <p:cNvSpPr txBox="1"/>
              <p:nvPr/>
            </p:nvSpPr>
            <p:spPr>
              <a:xfrm>
                <a:off x="7095397" y="2423098"/>
                <a:ext cx="3891525" cy="540671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u="none" strike="noStrike" kern="1200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HPE </a:t>
                </a:r>
                <a:r>
                  <a:rPr kumimoji="0" lang="en-US" sz="1200" u="none" strike="noStrike" kern="1200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Alletra</a:t>
                </a:r>
                <a:r>
                  <a:rPr kumimoji="0" lang="en-US" sz="1200" u="none" strike="noStrike" kern="1200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 Storage MP Controller Nodes</a:t>
                </a:r>
                <a:br>
                  <a:rPr kumimoji="0" lang="en-US" sz="1200" u="none" strike="noStrike" kern="1200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</a:br>
                <a:r>
                  <a:rPr kumimoji="0" lang="en-US" sz="1200" u="none" strike="noStrike" kern="1200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Accés</a:t>
                </a:r>
                <a:r>
                  <a:rPr kumimoji="0" lang="en-US" sz="1200" u="none" strike="noStrike" kern="1200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 </a:t>
                </a:r>
                <a:r>
                  <a:rPr kumimoji="0" lang="en-US" sz="1200" u="none" strike="noStrike" kern="1200" spc="0" normalizeH="0" baseline="0" noProof="0" dirty="0" err="1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Protocole</a:t>
                </a:r>
                <a:endParaRPr kumimoji="0" lang="en-US" sz="1200" u="none" strike="noStrike" kern="1200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 Light" panose="020B0303030202060203" pitchFamily="34" charset="77"/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D60C0A7E-1E98-B243-61BF-3D1381E2B852}"/>
                  </a:ext>
                </a:extLst>
              </p:cNvPr>
              <p:cNvSpPr txBox="1"/>
              <p:nvPr/>
            </p:nvSpPr>
            <p:spPr>
              <a:xfrm>
                <a:off x="7095397" y="1199920"/>
                <a:ext cx="3891525" cy="611192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u="none" strike="noStrike" kern="1200" spc="0" normalizeH="0" baseline="0" noProof="0">
                    <a:ln>
                      <a:noFill/>
                    </a:ln>
                    <a:effectLst/>
                    <a:uLnTx/>
                    <a:uFillTx/>
                  </a:rPr>
                  <a:t>Modular, multi-protocol storage architecture for block or file</a:t>
                </a:r>
              </a:p>
            </p:txBody>
          </p:sp>
          <p:sp>
            <p:nvSpPr>
              <p:cNvPr id="44" name="Down Arrow 43">
                <a:extLst>
                  <a:ext uri="{FF2B5EF4-FFF2-40B4-BE49-F238E27FC236}">
                    <a16:creationId xmlns:a16="http://schemas.microsoft.com/office/drawing/2014/main" id="{713761DD-FEBE-E8C4-91DF-153CEABDB8AE}"/>
                  </a:ext>
                </a:extLst>
              </p:cNvPr>
              <p:cNvSpPr/>
              <p:nvPr/>
            </p:nvSpPr>
            <p:spPr bwMode="ltGray">
              <a:xfrm rot="10800000">
                <a:off x="7616131" y="1866608"/>
                <a:ext cx="1343984" cy="536356"/>
              </a:xfrm>
              <a:prstGeom prst="downArrow">
                <a:avLst>
                  <a:gd name="adj1" fmla="val 71755"/>
                  <a:gd name="adj2" fmla="val 67295"/>
                </a:avLst>
              </a:prstGeom>
              <a:solidFill>
                <a:srgbClr val="32DAC8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3CB59EA1-8057-22B2-053A-95FE01551E83}"/>
                  </a:ext>
                </a:extLst>
              </p:cNvPr>
              <p:cNvSpPr txBox="1"/>
              <p:nvPr/>
            </p:nvSpPr>
            <p:spPr>
              <a:xfrm>
                <a:off x="7920076" y="2019642"/>
                <a:ext cx="736094" cy="364365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u="none" strike="noStrike" kern="1200" spc="0" normalizeH="0" baseline="0" noProof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Block</a:t>
                </a:r>
              </a:p>
            </p:txBody>
          </p:sp>
          <p:sp>
            <p:nvSpPr>
              <p:cNvPr id="47" name="Down Arrow 46">
                <a:extLst>
                  <a:ext uri="{FF2B5EF4-FFF2-40B4-BE49-F238E27FC236}">
                    <a16:creationId xmlns:a16="http://schemas.microsoft.com/office/drawing/2014/main" id="{E142024C-FBE3-E926-5B77-57CCB4F3E37A}"/>
                  </a:ext>
                </a:extLst>
              </p:cNvPr>
              <p:cNvSpPr/>
              <p:nvPr/>
            </p:nvSpPr>
            <p:spPr bwMode="ltGray">
              <a:xfrm rot="10800000">
                <a:off x="9060618" y="1866608"/>
                <a:ext cx="1343984" cy="536356"/>
              </a:xfrm>
              <a:prstGeom prst="downArrow">
                <a:avLst>
                  <a:gd name="adj1" fmla="val 71755"/>
                  <a:gd name="adj2" fmla="val 67295"/>
                </a:avLst>
              </a:prstGeom>
              <a:solidFill>
                <a:srgbClr val="32DAC8"/>
              </a:solidFill>
              <a:ln w="571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1440" bIns="91440" rtlCol="0" anchor="ctr"/>
              <a:lstStyle/>
              <a:p>
                <a:pPr algn="ctr"/>
                <a:endParaRPr lang="en-US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FFB4CC27-29A9-EDB5-85D8-2E25F523F7E5}"/>
                  </a:ext>
                </a:extLst>
              </p:cNvPr>
              <p:cNvSpPr txBox="1"/>
              <p:nvPr/>
            </p:nvSpPr>
            <p:spPr>
              <a:xfrm>
                <a:off x="9364563" y="2019642"/>
                <a:ext cx="736094" cy="364365"/>
              </a:xfrm>
              <a:prstGeom prst="rect">
                <a:avLst/>
              </a:prstGeom>
              <a:noFill/>
              <a:ln w="57150">
                <a:noFill/>
                <a:miter lim="800000"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u="none" strike="noStrike" kern="1200" spc="0" normalizeH="0" baseline="0" noProof="0">
                    <a:ln>
                      <a:noFill/>
                    </a:ln>
                    <a:effectLst/>
                    <a:uLnTx/>
                    <a:uFillTx/>
                    <a:latin typeface="MetricHPE Light" panose="020B0303030202060203" pitchFamily="34" charset="77"/>
                  </a:rPr>
                  <a:t>File</a:t>
                </a:r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2CBFBE21-B19F-79D9-D378-6E67422B8064}"/>
                  </a:ext>
                </a:extLst>
              </p:cNvPr>
              <p:cNvGrpSpPr/>
              <p:nvPr/>
            </p:nvGrpSpPr>
            <p:grpSpPr>
              <a:xfrm flipV="1">
                <a:off x="7211220" y="3453852"/>
                <a:ext cx="3611488" cy="463163"/>
                <a:chOff x="7070634" y="4139573"/>
                <a:chExt cx="3273186" cy="463163"/>
              </a:xfrm>
            </p:grpSpPr>
            <p:sp>
              <p:nvSpPr>
                <p:cNvPr id="50" name="Rectangle 35">
                  <a:extLst>
                    <a:ext uri="{FF2B5EF4-FFF2-40B4-BE49-F238E27FC236}">
                      <a16:creationId xmlns:a16="http://schemas.microsoft.com/office/drawing/2014/main" id="{359BDC5D-9456-4FAB-45D3-6BAB355E35D8}"/>
                    </a:ext>
                  </a:extLst>
                </p:cNvPr>
                <p:cNvSpPr/>
                <p:nvPr/>
              </p:nvSpPr>
              <p:spPr bwMode="ltGray">
                <a:xfrm>
                  <a:off x="7070634" y="4459564"/>
                  <a:ext cx="3273186" cy="143172"/>
                </a:xfrm>
                <a:custGeom>
                  <a:avLst/>
                  <a:gdLst>
                    <a:gd name="connsiteX0" fmla="*/ 0 w 3273186"/>
                    <a:gd name="connsiteY0" fmla="*/ 0 h 261257"/>
                    <a:gd name="connsiteX1" fmla="*/ 3273186 w 3273186"/>
                    <a:gd name="connsiteY1" fmla="*/ 0 h 261257"/>
                    <a:gd name="connsiteX2" fmla="*/ 3273186 w 3273186"/>
                    <a:gd name="connsiteY2" fmla="*/ 261257 h 261257"/>
                    <a:gd name="connsiteX3" fmla="*/ 0 w 3273186"/>
                    <a:gd name="connsiteY3" fmla="*/ 261257 h 261257"/>
                    <a:gd name="connsiteX4" fmla="*/ 0 w 3273186"/>
                    <a:gd name="connsiteY4" fmla="*/ 0 h 261257"/>
                    <a:gd name="connsiteX0" fmla="*/ 0 w 3273186"/>
                    <a:gd name="connsiteY0" fmla="*/ 0 h 268941"/>
                    <a:gd name="connsiteX1" fmla="*/ 3273186 w 3273186"/>
                    <a:gd name="connsiteY1" fmla="*/ 0 h 268941"/>
                    <a:gd name="connsiteX2" fmla="*/ 3273186 w 3273186"/>
                    <a:gd name="connsiteY2" fmla="*/ 261257 h 268941"/>
                    <a:gd name="connsiteX3" fmla="*/ 1197386 w 3273186"/>
                    <a:gd name="connsiteY3" fmla="*/ 268941 h 268941"/>
                    <a:gd name="connsiteX4" fmla="*/ 0 w 3273186"/>
                    <a:gd name="connsiteY4" fmla="*/ 261257 h 268941"/>
                    <a:gd name="connsiteX5" fmla="*/ 0 w 3273186"/>
                    <a:gd name="connsiteY5" fmla="*/ 0 h 268941"/>
                    <a:gd name="connsiteX0" fmla="*/ 1197386 w 3273186"/>
                    <a:gd name="connsiteY0" fmla="*/ 268941 h 360381"/>
                    <a:gd name="connsiteX1" fmla="*/ 0 w 3273186"/>
                    <a:gd name="connsiteY1" fmla="*/ 261257 h 360381"/>
                    <a:gd name="connsiteX2" fmla="*/ 0 w 3273186"/>
                    <a:gd name="connsiteY2" fmla="*/ 0 h 360381"/>
                    <a:gd name="connsiteX3" fmla="*/ 3273186 w 3273186"/>
                    <a:gd name="connsiteY3" fmla="*/ 0 h 360381"/>
                    <a:gd name="connsiteX4" fmla="*/ 3273186 w 3273186"/>
                    <a:gd name="connsiteY4" fmla="*/ 261257 h 360381"/>
                    <a:gd name="connsiteX5" fmla="*/ 1288826 w 3273186"/>
                    <a:gd name="connsiteY5" fmla="*/ 360381 h 360381"/>
                    <a:gd name="connsiteX0" fmla="*/ 1197386 w 3273186"/>
                    <a:gd name="connsiteY0" fmla="*/ 268941 h 268941"/>
                    <a:gd name="connsiteX1" fmla="*/ 0 w 3273186"/>
                    <a:gd name="connsiteY1" fmla="*/ 261257 h 268941"/>
                    <a:gd name="connsiteX2" fmla="*/ 0 w 3273186"/>
                    <a:gd name="connsiteY2" fmla="*/ 0 h 268941"/>
                    <a:gd name="connsiteX3" fmla="*/ 3273186 w 3273186"/>
                    <a:gd name="connsiteY3" fmla="*/ 0 h 268941"/>
                    <a:gd name="connsiteX4" fmla="*/ 3273186 w 3273186"/>
                    <a:gd name="connsiteY4" fmla="*/ 261257 h 268941"/>
                    <a:gd name="connsiteX0" fmla="*/ 0 w 3273186"/>
                    <a:gd name="connsiteY0" fmla="*/ 261257 h 261257"/>
                    <a:gd name="connsiteX1" fmla="*/ 0 w 3273186"/>
                    <a:gd name="connsiteY1" fmla="*/ 0 h 261257"/>
                    <a:gd name="connsiteX2" fmla="*/ 3273186 w 3273186"/>
                    <a:gd name="connsiteY2" fmla="*/ 0 h 261257"/>
                    <a:gd name="connsiteX3" fmla="*/ 3273186 w 3273186"/>
                    <a:gd name="connsiteY3" fmla="*/ 261257 h 2612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73186" h="261257">
                      <a:moveTo>
                        <a:pt x="0" y="261257"/>
                      </a:moveTo>
                      <a:lnTo>
                        <a:pt x="0" y="0"/>
                      </a:lnTo>
                      <a:lnTo>
                        <a:pt x="3273186" y="0"/>
                      </a:lnTo>
                      <a:lnTo>
                        <a:pt x="3273186" y="261257"/>
                      </a:lnTo>
                    </a:path>
                  </a:pathLst>
                </a:custGeom>
                <a:noFill/>
                <a:ln w="57150">
                  <a:solidFill>
                    <a:srgbClr val="32DAC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bIns="91440" rtlCol="0" anchor="ctr"/>
                <a:lstStyle/>
                <a:p>
                  <a:pPr algn="ctr"/>
                  <a:endParaRPr lang="en-US" sz="120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" name="Freeform 50">
                  <a:extLst>
                    <a:ext uri="{FF2B5EF4-FFF2-40B4-BE49-F238E27FC236}">
                      <a16:creationId xmlns:a16="http://schemas.microsoft.com/office/drawing/2014/main" id="{03E0E74B-DF9D-F307-A198-A8EFE4BA6A57}"/>
                    </a:ext>
                  </a:extLst>
                </p:cNvPr>
                <p:cNvSpPr/>
                <p:nvPr/>
              </p:nvSpPr>
              <p:spPr bwMode="ltGray">
                <a:xfrm>
                  <a:off x="8690641" y="4139573"/>
                  <a:ext cx="45719" cy="319991"/>
                </a:xfrm>
                <a:custGeom>
                  <a:avLst/>
                  <a:gdLst>
                    <a:gd name="connsiteX0" fmla="*/ 0 w 0"/>
                    <a:gd name="connsiteY0" fmla="*/ 169049 h 169049"/>
                    <a:gd name="connsiteX1" fmla="*/ 0 w 0"/>
                    <a:gd name="connsiteY1" fmla="*/ 0 h 169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h="169049">
                      <a:moveTo>
                        <a:pt x="0" y="169049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57150">
                  <a:solidFill>
                    <a:srgbClr val="32DAC8"/>
                  </a:solidFill>
                  <a:tailEnd type="arrow" w="med" len="sm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/>
                </a:p>
              </p:txBody>
            </p:sp>
          </p:grpSp>
        </p:grpSp>
      </p:grpSp>
      <p:pic>
        <p:nvPicPr>
          <p:cNvPr id="4" name="Picture 3" descr="A picture containing text, green, computer">
            <a:extLst>
              <a:ext uri="{FF2B5EF4-FFF2-40B4-BE49-F238E27FC236}">
                <a16:creationId xmlns:a16="http://schemas.microsoft.com/office/drawing/2014/main" id="{7287970E-47A3-56AB-249A-5591E76EE2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863" y="2844251"/>
            <a:ext cx="3495556" cy="91904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1425D7E-A6DC-C70A-3359-6B40DE274F30}"/>
              </a:ext>
            </a:extLst>
          </p:cNvPr>
          <p:cNvSpPr txBox="1"/>
          <p:nvPr/>
        </p:nvSpPr>
        <p:spPr>
          <a:xfrm>
            <a:off x="2280953" y="2275006"/>
            <a:ext cx="2567076" cy="34163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Alletra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 Storage MP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8349623-39FA-41F5-4011-19080451FBC9}"/>
              </a:ext>
            </a:extLst>
          </p:cNvPr>
          <p:cNvSpPr/>
          <p:nvPr/>
        </p:nvSpPr>
        <p:spPr bwMode="ltGray">
          <a:xfrm>
            <a:off x="10688716" y="81346"/>
            <a:ext cx="1366622" cy="649489"/>
          </a:xfrm>
          <a:prstGeom prst="rect">
            <a:avLst/>
          </a:prstGeom>
          <a:solidFill>
            <a:schemeClr val="accent1"/>
          </a:solidFill>
          <a:ln w="57150">
            <a:solidFill>
              <a:srgbClr val="32D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Infrastructure unique</a:t>
            </a:r>
            <a:b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</a:b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pour </a:t>
            </a:r>
            <a:r>
              <a:rPr kumimoji="0" lang="en-US" sz="105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vos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 workload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8A9CDDA-C56E-8571-3AB4-9743CE405E90}"/>
              </a:ext>
            </a:extLst>
          </p:cNvPr>
          <p:cNvSpPr txBox="1"/>
          <p:nvPr/>
        </p:nvSpPr>
        <p:spPr>
          <a:xfrm rot="5400000">
            <a:off x="9704125" y="4280281"/>
            <a:ext cx="2889843" cy="364365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200" dirty="0">
                <a:latin typeface="MetricHPE Light" panose="020B0303030202060203" pitchFamily="34" charset="77"/>
              </a:rPr>
              <a:t>Share All</a:t>
            </a:r>
          </a:p>
        </p:txBody>
      </p:sp>
    </p:spTree>
    <p:extLst>
      <p:ext uri="{BB962C8B-B14F-4D97-AF65-F5344CB8AC3E}">
        <p14:creationId xmlns:p14="http://schemas.microsoft.com/office/powerpoint/2010/main" val="235179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4">
            <a:extLst>
              <a:ext uri="{FF2B5EF4-FFF2-40B4-BE49-F238E27FC236}">
                <a16:creationId xmlns:a16="http://schemas.microsoft.com/office/drawing/2014/main" id="{0F343FAE-5347-A5FB-8654-0838FDEAD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-FR" dirty="0"/>
              <a:t>Mises à niveau en ligne sans interruption avec pérennité investisseme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401B76-BD93-7344-C061-204A945C7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fld id="{104FC826-72BB-4AF1-BA01-A94F7396A7DC}" type="slidenum">
              <a:rPr kumimoji="0" lang="fr-FR" sz="2000" b="0" i="0" u="none" strike="noStrike" kern="1200" cap="all" spc="0" normalizeH="0" baseline="1000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t>15</a:t>
            </a:fld>
            <a:endParaRPr kumimoji="0" lang="fr-FR" sz="2000" b="0" i="0" u="none" strike="noStrike" kern="1200" cap="all" spc="0" normalizeH="0" baseline="1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29F7A1F8-392E-059A-6CB1-5E450BC41E0B}"/>
              </a:ext>
            </a:extLst>
          </p:cNvPr>
          <p:cNvSpPr txBox="1"/>
          <p:nvPr/>
        </p:nvSpPr>
        <p:spPr>
          <a:xfrm>
            <a:off x="525182" y="4993192"/>
            <a:ext cx="3403718" cy="509271"/>
          </a:xfrm>
          <a:prstGeom prst="rect">
            <a:avLst/>
          </a:prstGeom>
          <a:solidFill>
            <a:schemeClr val="bg1"/>
          </a:solidFill>
          <a:ln w="57150">
            <a:solidFill>
              <a:srgbClr val="32DAC8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etricHPE" panose="020B0503030202060203" pitchFamily="34" charset="0"/>
              <a:buNone/>
              <a:tabLst/>
              <a:defRPr/>
            </a:pPr>
            <a:r>
              <a:rPr kumimoji="0" lang="fr-FR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Mise à l'échelle efficace</a:t>
            </a: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Light" panose="020B0303030202060203" pitchFamily="34" charset="77"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AE3DA877-199C-6236-FC3D-FE4185992B08}"/>
              </a:ext>
            </a:extLst>
          </p:cNvPr>
          <p:cNvSpPr txBox="1"/>
          <p:nvPr/>
        </p:nvSpPr>
        <p:spPr>
          <a:xfrm>
            <a:off x="4416403" y="4993192"/>
            <a:ext cx="3403718" cy="509271"/>
          </a:xfrm>
          <a:prstGeom prst="rect">
            <a:avLst/>
          </a:prstGeom>
          <a:solidFill>
            <a:schemeClr val="bg1"/>
          </a:solidFill>
          <a:ln w="57150">
            <a:solidFill>
              <a:srgbClr val="32DAC8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etricHPE" panose="020B0503030202060203" pitchFamily="34" charset="0"/>
              <a:buNone/>
              <a:tabLst/>
              <a:defRPr/>
            </a:pPr>
            <a:r>
              <a:rPr lang="fr-FR" sz="2200" b="1">
                <a:solidFill>
                  <a:prstClr val="black"/>
                </a:solidFill>
                <a:latin typeface="MetricHPE"/>
              </a:rPr>
              <a:t>Evolution</a:t>
            </a:r>
            <a:r>
              <a:rPr kumimoji="0" lang="fr-FR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 simple</a:t>
            </a: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Light" panose="020B0303030202060203" pitchFamily="34" charset="77"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15DA429F-B3A6-3E98-81E7-F790C034CB65}"/>
              </a:ext>
            </a:extLst>
          </p:cNvPr>
          <p:cNvSpPr txBox="1"/>
          <p:nvPr/>
        </p:nvSpPr>
        <p:spPr>
          <a:xfrm>
            <a:off x="8350781" y="4993192"/>
            <a:ext cx="3403718" cy="509271"/>
          </a:xfrm>
          <a:prstGeom prst="rect">
            <a:avLst/>
          </a:prstGeom>
          <a:solidFill>
            <a:schemeClr val="bg1"/>
          </a:solidFill>
          <a:ln w="57150">
            <a:solidFill>
              <a:srgbClr val="32DAC8"/>
            </a:solidFill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MetricHPE" panose="020B0503030202060203" pitchFamily="34" charset="0"/>
              <a:buNone/>
              <a:tabLst/>
              <a:defRPr/>
            </a:pPr>
            <a:r>
              <a:rPr kumimoji="0" lang="fr-FR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Pas de perturbations</a:t>
            </a: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Light" panose="020B0303030202060203" pitchFamily="34" charset="77"/>
              <a:ea typeface="+mn-ea"/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5DD96B51-FF0A-B943-0CC0-AE85E1A78872}"/>
              </a:ext>
            </a:extLst>
          </p:cNvPr>
          <p:cNvSpPr/>
          <p:nvPr/>
        </p:nvSpPr>
        <p:spPr bwMode="ltGray">
          <a:xfrm>
            <a:off x="525182" y="5543899"/>
            <a:ext cx="3403718" cy="76933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  <a:t>Échelle multi-nœuds pour</a:t>
            </a:r>
            <a:b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</a:b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  <a:t>performances et capacité</a:t>
            </a:r>
            <a:endParaRPr kumimoji="0" lang="fr-FR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B1F6E72-FB1E-6D28-0CEB-E86A14E19AB1}"/>
              </a:ext>
            </a:extLst>
          </p:cNvPr>
          <p:cNvSpPr/>
          <p:nvPr/>
        </p:nvSpPr>
        <p:spPr bwMode="ltGray">
          <a:xfrm>
            <a:off x="4405368" y="5543899"/>
            <a:ext cx="3403718" cy="76933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  <a:t>Zéro investissement perdu avec</a:t>
            </a:r>
            <a:b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</a:b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  <a:t>mises à niveau « data in place »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6A8D3BB-1E46-D8A1-CA22-BB6E7FCF0805}"/>
              </a:ext>
            </a:extLst>
          </p:cNvPr>
          <p:cNvSpPr/>
          <p:nvPr/>
        </p:nvSpPr>
        <p:spPr bwMode="ltGray">
          <a:xfrm>
            <a:off x="8356845" y="5543899"/>
            <a:ext cx="3403718" cy="76933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  <a:t>La mise à niveau est transparente</a:t>
            </a:r>
            <a:b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</a:b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  <a:t>pour les applications, utilisateur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BF03BCD-FBAB-D206-B7C3-16E42282D5D8}"/>
              </a:ext>
            </a:extLst>
          </p:cNvPr>
          <p:cNvCxnSpPr>
            <a:cxnSpLocks/>
          </p:cNvCxnSpPr>
          <p:nvPr/>
        </p:nvCxnSpPr>
        <p:spPr>
          <a:xfrm flipV="1">
            <a:off x="10004595" y="2861349"/>
            <a:ext cx="0" cy="355400"/>
          </a:xfrm>
          <a:prstGeom prst="line">
            <a:avLst/>
          </a:prstGeom>
          <a:ln w="38100" cap="rnd">
            <a:solidFill>
              <a:srgbClr val="01A98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519025-B998-EB9B-C3E1-FFE04B76D701}"/>
              </a:ext>
            </a:extLst>
          </p:cNvPr>
          <p:cNvCxnSpPr>
            <a:cxnSpLocks/>
          </p:cNvCxnSpPr>
          <p:nvPr/>
        </p:nvCxnSpPr>
        <p:spPr>
          <a:xfrm flipV="1">
            <a:off x="10004595" y="2213932"/>
            <a:ext cx="0" cy="355400"/>
          </a:xfrm>
          <a:prstGeom prst="line">
            <a:avLst/>
          </a:prstGeom>
          <a:ln w="38100" cap="rnd">
            <a:solidFill>
              <a:srgbClr val="01A98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4AD8821-573A-8BDB-44D3-D0AD23EC8071}"/>
              </a:ext>
            </a:extLst>
          </p:cNvPr>
          <p:cNvCxnSpPr>
            <a:cxnSpLocks/>
          </p:cNvCxnSpPr>
          <p:nvPr/>
        </p:nvCxnSpPr>
        <p:spPr>
          <a:xfrm flipV="1">
            <a:off x="10004595" y="3475711"/>
            <a:ext cx="0" cy="355400"/>
          </a:xfrm>
          <a:prstGeom prst="line">
            <a:avLst/>
          </a:prstGeom>
          <a:ln w="38100" cap="rnd">
            <a:solidFill>
              <a:srgbClr val="01A98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46FD1F3-3C84-A85B-95A2-E92D0916CF1F}"/>
              </a:ext>
            </a:extLst>
          </p:cNvPr>
          <p:cNvCxnSpPr>
            <a:cxnSpLocks/>
          </p:cNvCxnSpPr>
          <p:nvPr/>
        </p:nvCxnSpPr>
        <p:spPr>
          <a:xfrm flipV="1">
            <a:off x="6869881" y="3279278"/>
            <a:ext cx="0" cy="355400"/>
          </a:xfrm>
          <a:prstGeom prst="line">
            <a:avLst/>
          </a:prstGeom>
          <a:ln w="38100" cap="rnd">
            <a:solidFill>
              <a:srgbClr val="01A98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31452A-499B-7DE8-E086-686397359B2A}"/>
              </a:ext>
            </a:extLst>
          </p:cNvPr>
          <p:cNvCxnSpPr>
            <a:cxnSpLocks/>
          </p:cNvCxnSpPr>
          <p:nvPr/>
        </p:nvCxnSpPr>
        <p:spPr>
          <a:xfrm flipV="1">
            <a:off x="6869881" y="2517278"/>
            <a:ext cx="0" cy="355400"/>
          </a:xfrm>
          <a:prstGeom prst="line">
            <a:avLst/>
          </a:prstGeom>
          <a:ln w="38100" cap="rnd">
            <a:solidFill>
              <a:srgbClr val="01A98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152AC93-F958-6EE9-BEA6-DA3BCD1ABF32}"/>
              </a:ext>
            </a:extLst>
          </p:cNvPr>
          <p:cNvCxnSpPr>
            <a:cxnSpLocks/>
          </p:cNvCxnSpPr>
          <p:nvPr/>
        </p:nvCxnSpPr>
        <p:spPr>
          <a:xfrm flipV="1">
            <a:off x="5125748" y="3262345"/>
            <a:ext cx="0" cy="355400"/>
          </a:xfrm>
          <a:prstGeom prst="line">
            <a:avLst/>
          </a:prstGeom>
          <a:ln w="38100" cap="rnd">
            <a:solidFill>
              <a:srgbClr val="01A98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BBF5B165-541D-4829-F948-B2DD07AB83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3491" y="3015071"/>
            <a:ext cx="1427087" cy="264820"/>
          </a:xfrm>
          <a:prstGeom prst="rect">
            <a:avLst/>
          </a:prstGeom>
        </p:spPr>
      </p:pic>
      <p:sp>
        <p:nvSpPr>
          <p:cNvPr id="12" name="Arrow: Right 238">
            <a:extLst>
              <a:ext uri="{FF2B5EF4-FFF2-40B4-BE49-F238E27FC236}">
                <a16:creationId xmlns:a16="http://schemas.microsoft.com/office/drawing/2014/main" id="{2B75322D-F6F9-4A45-14B6-8079B369292B}"/>
              </a:ext>
            </a:extLst>
          </p:cNvPr>
          <p:cNvSpPr/>
          <p:nvPr/>
        </p:nvSpPr>
        <p:spPr bwMode="ltGray">
          <a:xfrm>
            <a:off x="3522886" y="4192381"/>
            <a:ext cx="556661" cy="45719"/>
          </a:xfrm>
          <a:prstGeom prst="rightArrow">
            <a:avLst/>
          </a:prstGeom>
          <a:solidFill>
            <a:srgbClr val="01A982"/>
          </a:solidFill>
          <a:ln w="571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13" name="Arrow: Right 248">
            <a:extLst>
              <a:ext uri="{FF2B5EF4-FFF2-40B4-BE49-F238E27FC236}">
                <a16:creationId xmlns:a16="http://schemas.microsoft.com/office/drawing/2014/main" id="{D047AF7F-ECF6-D4E5-4414-5787CE2C3B2F}"/>
              </a:ext>
            </a:extLst>
          </p:cNvPr>
          <p:cNvSpPr/>
          <p:nvPr/>
        </p:nvSpPr>
        <p:spPr bwMode="ltGray">
          <a:xfrm>
            <a:off x="5878286" y="3940942"/>
            <a:ext cx="217714" cy="45719"/>
          </a:xfrm>
          <a:prstGeom prst="rightArrow">
            <a:avLst/>
          </a:prstGeom>
          <a:solidFill>
            <a:srgbClr val="01A982"/>
          </a:solidFill>
          <a:ln w="571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62B0B37-361B-7A6C-57C6-777717A8F202}"/>
              </a:ext>
            </a:extLst>
          </p:cNvPr>
          <p:cNvSpPr txBox="1">
            <a:spLocks/>
          </p:cNvSpPr>
          <p:nvPr/>
        </p:nvSpPr>
        <p:spPr>
          <a:xfrm>
            <a:off x="1473863" y="4419772"/>
            <a:ext cx="1667755" cy="3577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MetricHPE Light" panose="020B0303030202060203" pitchFamily="34" charset="0"/>
              <a:buNone/>
              <a:defRPr sz="1400">
                <a:latin typeface="MetricHPE Light" panose="020B0303030202060203" pitchFamily="34" charset="0"/>
              </a:defRPr>
            </a:lvl1pPr>
            <a:lvl2pPr marL="411480" indent="-18288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90000"/>
              <a:buFont typeface="MetricHPE Light" panose="020B0303030202060203" pitchFamily="34" charset="0"/>
              <a:buChar char="•"/>
              <a:defRPr>
                <a:latin typeface="MetricHPE Light" panose="020B0303030202060203" pitchFamily="34" charset="0"/>
              </a:defRPr>
            </a:lvl2pPr>
            <a:lvl3pPr marL="54864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600">
                <a:latin typeface="MetricHPE Light" panose="020B0303030202060203" pitchFamily="34" charset="0"/>
              </a:defRPr>
            </a:lvl3pPr>
            <a:lvl4pPr marL="73152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4pPr>
            <a:lvl5pPr marL="86868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9pPr>
          </a:lstStyle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2 x </a:t>
            </a:r>
            <a:r>
              <a:rPr lang="fr-FR" sz="1600" dirty="0">
                <a:latin typeface="MetricHPE Light" panose="020B0303030202060203" pitchFamily="34" charset="77"/>
              </a:rPr>
              <a:t>16</a:t>
            </a: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 Cœurs Ctrl</a:t>
            </a:r>
          </a:p>
        </p:txBody>
      </p:sp>
      <p:sp>
        <p:nvSpPr>
          <p:cNvPr id="15" name="Circular Arrow 117">
            <a:extLst>
              <a:ext uri="{FF2B5EF4-FFF2-40B4-BE49-F238E27FC236}">
                <a16:creationId xmlns:a16="http://schemas.microsoft.com/office/drawing/2014/main" id="{A308C958-F6E8-8775-A01B-4169E742F211}"/>
              </a:ext>
            </a:extLst>
          </p:cNvPr>
          <p:cNvSpPr/>
          <p:nvPr/>
        </p:nvSpPr>
        <p:spPr bwMode="ltGray">
          <a:xfrm rot="16200000" flipV="1">
            <a:off x="7361255" y="3224859"/>
            <a:ext cx="544839" cy="544839"/>
          </a:xfrm>
          <a:prstGeom prst="circularArrow">
            <a:avLst>
              <a:gd name="adj1" fmla="val 11586"/>
              <a:gd name="adj2" fmla="val 1254077"/>
              <a:gd name="adj3" fmla="val 20405964"/>
              <a:gd name="adj4" fmla="val 10800000"/>
              <a:gd name="adj5" fmla="val 15161"/>
            </a:avLst>
          </a:prstGeom>
          <a:solidFill>
            <a:srgbClr val="01A98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8226108-8ED3-940E-D5E6-2989291043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4200" y="4057114"/>
            <a:ext cx="1427083" cy="264820"/>
          </a:xfrm>
          <a:prstGeom prst="rect">
            <a:avLst/>
          </a:prstGeom>
        </p:spPr>
      </p:pic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582A32B-2825-961E-78BA-6B2202047688}"/>
              </a:ext>
            </a:extLst>
          </p:cNvPr>
          <p:cNvSpPr txBox="1">
            <a:spLocks/>
          </p:cNvSpPr>
          <p:nvPr/>
        </p:nvSpPr>
        <p:spPr>
          <a:xfrm>
            <a:off x="1486824" y="3552111"/>
            <a:ext cx="1798806" cy="3577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MetricHPE Light" panose="020B0303030202060203" pitchFamily="34" charset="0"/>
              <a:buNone/>
              <a:defRPr sz="1400">
                <a:latin typeface="MetricHPE Light" panose="020B0303030202060203" pitchFamily="34" charset="0"/>
              </a:defRPr>
            </a:lvl1pPr>
            <a:lvl2pPr marL="411480" indent="-18288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90000"/>
              <a:buFont typeface="MetricHPE Light" panose="020B0303030202060203" pitchFamily="34" charset="0"/>
              <a:buChar char="•"/>
              <a:defRPr>
                <a:latin typeface="MetricHPE Light" panose="020B0303030202060203" pitchFamily="34" charset="0"/>
              </a:defRPr>
            </a:lvl2pPr>
            <a:lvl3pPr marL="54864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600">
                <a:latin typeface="MetricHPE Light" panose="020B0303030202060203" pitchFamily="34" charset="0"/>
              </a:defRPr>
            </a:lvl3pPr>
            <a:lvl4pPr marL="73152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4pPr>
            <a:lvl5pPr marL="86868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9pPr>
          </a:lstStyle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1 x </a:t>
            </a:r>
            <a:r>
              <a:rPr kumimoji="0" lang="fr-FR" sz="16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NVMe</a:t>
            </a: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 enclosur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064B97CF-7D1A-066D-5F37-795C924440C0}"/>
              </a:ext>
            </a:extLst>
          </p:cNvPr>
          <p:cNvSpPr txBox="1">
            <a:spLocks/>
          </p:cNvSpPr>
          <p:nvPr/>
        </p:nvSpPr>
        <p:spPr>
          <a:xfrm>
            <a:off x="4284729" y="4419772"/>
            <a:ext cx="1667755" cy="3577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MetricHPE Light" panose="020B0303030202060203" pitchFamily="34" charset="0"/>
              <a:buNone/>
              <a:defRPr sz="1400">
                <a:latin typeface="MetricHPE Light" panose="020B0303030202060203" pitchFamily="34" charset="0"/>
              </a:defRPr>
            </a:lvl1pPr>
            <a:lvl2pPr marL="411480" indent="-18288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90000"/>
              <a:buFont typeface="MetricHPE Light" panose="020B0303030202060203" pitchFamily="34" charset="0"/>
              <a:buChar char="•"/>
              <a:defRPr>
                <a:latin typeface="MetricHPE Light" panose="020B0303030202060203" pitchFamily="34" charset="0"/>
              </a:defRPr>
            </a:lvl2pPr>
            <a:lvl3pPr marL="54864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600">
                <a:latin typeface="MetricHPE Light" panose="020B0303030202060203" pitchFamily="34" charset="0"/>
              </a:defRPr>
            </a:lvl3pPr>
            <a:lvl4pPr marL="73152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4pPr>
            <a:lvl5pPr marL="86868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2 x 16 Cœurs Ctrl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7897B28-2312-A420-44DC-8A7E99BD3D88}"/>
              </a:ext>
            </a:extLst>
          </p:cNvPr>
          <p:cNvGrpSpPr/>
          <p:nvPr/>
        </p:nvGrpSpPr>
        <p:grpSpPr>
          <a:xfrm>
            <a:off x="4405063" y="3529907"/>
            <a:ext cx="1427086" cy="813476"/>
            <a:chOff x="1716859" y="3772151"/>
            <a:chExt cx="1427086" cy="813476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3FAA9458-96B3-63A8-CDE0-B108FA852ED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4320807"/>
              <a:ext cx="1427083" cy="264820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4B80DAC3-9E1D-8707-CF7F-DEC0A12FAB1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6859" y="4035061"/>
              <a:ext cx="1427086" cy="146276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08F9B2B5-B4C8-D0E4-3D6F-16A2974F0DD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6859" y="4175486"/>
              <a:ext cx="1427086" cy="146276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DB7665F9-41D8-26FC-199E-AF20FFA4A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3772151"/>
              <a:ext cx="1427083" cy="264820"/>
            </a:xfrm>
            <a:prstGeom prst="rect">
              <a:avLst/>
            </a:prstGeom>
          </p:spPr>
        </p:pic>
      </p:grp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8C24E59A-5B24-5946-0AC3-026445747C5B}"/>
              </a:ext>
            </a:extLst>
          </p:cNvPr>
          <p:cNvSpPr txBox="1">
            <a:spLocks/>
          </p:cNvSpPr>
          <p:nvPr/>
        </p:nvSpPr>
        <p:spPr>
          <a:xfrm>
            <a:off x="4219203" y="2739080"/>
            <a:ext cx="1798806" cy="3577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MetricHPE Light" panose="020B0303030202060203" pitchFamily="34" charset="0"/>
              <a:buNone/>
              <a:defRPr sz="1400">
                <a:latin typeface="MetricHPE Light" panose="020B0303030202060203" pitchFamily="34" charset="0"/>
              </a:defRPr>
            </a:lvl1pPr>
            <a:lvl2pPr marL="411480" indent="-18288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90000"/>
              <a:buFont typeface="MetricHPE Light" panose="020B0303030202060203" pitchFamily="34" charset="0"/>
              <a:buChar char="•"/>
              <a:defRPr>
                <a:latin typeface="MetricHPE Light" panose="020B0303030202060203" pitchFamily="34" charset="0"/>
              </a:defRPr>
            </a:lvl2pPr>
            <a:lvl3pPr marL="54864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600">
                <a:latin typeface="MetricHPE Light" panose="020B0303030202060203" pitchFamily="34" charset="0"/>
              </a:defRPr>
            </a:lvl3pPr>
            <a:lvl4pPr marL="73152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4pPr>
            <a:lvl5pPr marL="86868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4 x </a:t>
            </a:r>
            <a:r>
              <a:rPr kumimoji="0" lang="fr-FR" sz="16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NVMe</a:t>
            </a: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 enclosures</a:t>
            </a:r>
          </a:p>
        </p:txBody>
      </p:sp>
      <p:sp>
        <p:nvSpPr>
          <p:cNvPr id="75" name="Circular Arrow 51">
            <a:extLst>
              <a:ext uri="{FF2B5EF4-FFF2-40B4-BE49-F238E27FC236}">
                <a16:creationId xmlns:a16="http://schemas.microsoft.com/office/drawing/2014/main" id="{4058A2AE-5B2A-CDB1-D738-7EEAECB2DF6E}"/>
              </a:ext>
            </a:extLst>
          </p:cNvPr>
          <p:cNvSpPr/>
          <p:nvPr/>
        </p:nvSpPr>
        <p:spPr bwMode="ltGray">
          <a:xfrm rot="16200000" flipV="1">
            <a:off x="5607378" y="3194024"/>
            <a:ext cx="544839" cy="544839"/>
          </a:xfrm>
          <a:prstGeom prst="circularArrow">
            <a:avLst>
              <a:gd name="adj1" fmla="val 11586"/>
              <a:gd name="adj2" fmla="val 1254077"/>
              <a:gd name="adj3" fmla="val 20405964"/>
              <a:gd name="adj4" fmla="val 10800000"/>
              <a:gd name="adj5" fmla="val 15161"/>
            </a:avLst>
          </a:prstGeom>
          <a:solidFill>
            <a:srgbClr val="01A98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CFB17828-E4F4-FEBE-EA07-2AD38C701511}"/>
              </a:ext>
            </a:extLst>
          </p:cNvPr>
          <p:cNvSpPr txBox="1">
            <a:spLocks/>
          </p:cNvSpPr>
          <p:nvPr/>
        </p:nvSpPr>
        <p:spPr>
          <a:xfrm>
            <a:off x="6037329" y="4419772"/>
            <a:ext cx="1667755" cy="3577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MetricHPE Light" panose="020B0303030202060203" pitchFamily="34" charset="0"/>
              <a:buNone/>
              <a:defRPr sz="1400">
                <a:latin typeface="MetricHPE Light" panose="020B0303030202060203" pitchFamily="34" charset="0"/>
              </a:defRPr>
            </a:lvl1pPr>
            <a:lvl2pPr marL="411480" indent="-18288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90000"/>
              <a:buFont typeface="MetricHPE Light" panose="020B0303030202060203" pitchFamily="34" charset="0"/>
              <a:buChar char="•"/>
              <a:defRPr>
                <a:latin typeface="MetricHPE Light" panose="020B0303030202060203" pitchFamily="34" charset="0"/>
              </a:defRPr>
            </a:lvl2pPr>
            <a:lvl3pPr marL="54864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600">
                <a:latin typeface="MetricHPE Light" panose="020B0303030202060203" pitchFamily="34" charset="0"/>
              </a:defRPr>
            </a:lvl3pPr>
            <a:lvl4pPr marL="73152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4pPr>
            <a:lvl5pPr marL="86868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16 x 32 Cœurs Ctrl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2EA78557-EE0C-6F1F-7A12-4313920333A2}"/>
              </a:ext>
            </a:extLst>
          </p:cNvPr>
          <p:cNvGrpSpPr/>
          <p:nvPr/>
        </p:nvGrpSpPr>
        <p:grpSpPr>
          <a:xfrm>
            <a:off x="6157663" y="2353149"/>
            <a:ext cx="1427086" cy="1990234"/>
            <a:chOff x="1716859" y="2595393"/>
            <a:chExt cx="1427086" cy="1990234"/>
          </a:xfrm>
        </p:grpSpPr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2BDCA8F7-AD6D-0E03-BB87-FC26995D88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4320807"/>
              <a:ext cx="1427083" cy="264820"/>
            </a:xfrm>
            <a:prstGeom prst="rect">
              <a:avLst/>
            </a:prstGeom>
          </p:spPr>
        </p:pic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BE703C7B-BB84-31A7-2A53-C7D6381BC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6859" y="4035061"/>
              <a:ext cx="1427086" cy="146276"/>
            </a:xfrm>
            <a:prstGeom prst="rect">
              <a:avLst/>
            </a:prstGeom>
          </p:spPr>
        </p:pic>
        <p:pic>
          <p:nvPicPr>
            <p:cNvPr id="84" name="Picture 83">
              <a:extLst>
                <a:ext uri="{FF2B5EF4-FFF2-40B4-BE49-F238E27FC236}">
                  <a16:creationId xmlns:a16="http://schemas.microsoft.com/office/drawing/2014/main" id="{01D6A852-5F70-A384-7679-B418C8154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6859" y="4175486"/>
              <a:ext cx="1427086" cy="146276"/>
            </a:xfrm>
            <a:prstGeom prst="rect">
              <a:avLst/>
            </a:prstGeom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62684300-0E69-DD3A-2562-7B49D3240D7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3027193"/>
              <a:ext cx="1427083" cy="264820"/>
            </a:xfrm>
            <a:prstGeom prst="rect">
              <a:avLst/>
            </a:prstGeom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0CA2F4EE-3572-D2F2-4093-9D6FA131B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3770474"/>
              <a:ext cx="1427083" cy="264820"/>
            </a:xfrm>
            <a:prstGeom prst="rect">
              <a:avLst/>
            </a:prstGeom>
          </p:spPr>
        </p:pic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BEA12745-0609-0E16-1BBA-0111F098BE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3330207"/>
              <a:ext cx="1427083" cy="264820"/>
            </a:xfrm>
            <a:prstGeom prst="rect">
              <a:avLst/>
            </a:prstGeom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BAC336C4-943C-C90A-A698-4F5427352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2595393"/>
              <a:ext cx="1427083" cy="264820"/>
            </a:xfrm>
            <a:prstGeom prst="rect">
              <a:avLst/>
            </a:prstGeom>
          </p:spPr>
        </p:pic>
      </p:grpSp>
      <p:sp>
        <p:nvSpPr>
          <p:cNvPr id="98" name="Circular Arrow 69">
            <a:extLst>
              <a:ext uri="{FF2B5EF4-FFF2-40B4-BE49-F238E27FC236}">
                <a16:creationId xmlns:a16="http://schemas.microsoft.com/office/drawing/2014/main" id="{785117CB-E8BB-2A44-257E-157188AD4762}"/>
              </a:ext>
            </a:extLst>
          </p:cNvPr>
          <p:cNvSpPr/>
          <p:nvPr/>
        </p:nvSpPr>
        <p:spPr bwMode="ltGray">
          <a:xfrm rot="16200000" flipV="1">
            <a:off x="7361255" y="2437459"/>
            <a:ext cx="544839" cy="544839"/>
          </a:xfrm>
          <a:prstGeom prst="circularArrow">
            <a:avLst>
              <a:gd name="adj1" fmla="val 11586"/>
              <a:gd name="adj2" fmla="val 1254077"/>
              <a:gd name="adj3" fmla="val 20405964"/>
              <a:gd name="adj4" fmla="val 10800000"/>
              <a:gd name="adj5" fmla="val 15161"/>
            </a:avLst>
          </a:prstGeom>
          <a:solidFill>
            <a:srgbClr val="01A98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573C4200-FDC9-8802-4FEA-DBBBA27EA6F9}"/>
              </a:ext>
            </a:extLst>
          </p:cNvPr>
          <p:cNvGrpSpPr/>
          <p:nvPr/>
        </p:nvGrpSpPr>
        <p:grpSpPr>
          <a:xfrm>
            <a:off x="9278090" y="1949112"/>
            <a:ext cx="1427086" cy="2398194"/>
            <a:chOff x="1716859" y="2346133"/>
            <a:chExt cx="1427086" cy="2398194"/>
          </a:xfrm>
        </p:grpSpPr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CE3522DD-EBF0-AC43-87E3-6F5752AFC2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4479507"/>
              <a:ext cx="1427083" cy="264820"/>
            </a:xfrm>
            <a:prstGeom prst="rect">
              <a:avLst/>
            </a:prstGeom>
          </p:spPr>
        </p:pic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1D376E17-7D69-8390-44C1-CCC77A80EB3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6859" y="4193761"/>
              <a:ext cx="1427086" cy="146276"/>
            </a:xfrm>
            <a:prstGeom prst="rect">
              <a:avLst/>
            </a:prstGeom>
          </p:spPr>
        </p:pic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1D3B79D2-B670-64D8-8B62-22A7E0C1F9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6859" y="4334186"/>
              <a:ext cx="1427086" cy="146276"/>
            </a:xfrm>
            <a:prstGeom prst="rect">
              <a:avLst/>
            </a:prstGeom>
          </p:spPr>
        </p:pic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CACDFDD0-5079-E173-5480-0868CF124D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2777128"/>
              <a:ext cx="1427083" cy="264820"/>
            </a:xfrm>
            <a:prstGeom prst="rect">
              <a:avLst/>
            </a:prstGeom>
          </p:spPr>
        </p:pic>
        <p:pic>
          <p:nvPicPr>
            <p:cNvPr id="108" name="Picture 107">
              <a:extLst>
                <a:ext uri="{FF2B5EF4-FFF2-40B4-BE49-F238E27FC236}">
                  <a16:creationId xmlns:a16="http://schemas.microsoft.com/office/drawing/2014/main" id="{E21A6194-C3F9-BAD9-26EE-DCE7AA49A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3080142"/>
              <a:ext cx="1427083" cy="264820"/>
            </a:xfrm>
            <a:prstGeom prst="rect">
              <a:avLst/>
            </a:prstGeom>
          </p:spPr>
        </p:pic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275FCA60-F4D7-D27D-F7B0-EDBCF83F9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2346133"/>
              <a:ext cx="1427083" cy="264820"/>
            </a:xfrm>
            <a:prstGeom prst="rect">
              <a:avLst/>
            </a:prstGeom>
          </p:spPr>
        </p:pic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23B1C50D-97A4-A5E2-475D-ED840EAD60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6859" y="3775497"/>
              <a:ext cx="1427086" cy="146276"/>
            </a:xfrm>
            <a:prstGeom prst="rect">
              <a:avLst/>
            </a:prstGeom>
          </p:spPr>
        </p:pic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E36B4C22-89B2-AADB-3FFE-1EE580FC72C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16859" y="3915922"/>
              <a:ext cx="1427086" cy="146276"/>
            </a:xfrm>
            <a:prstGeom prst="rect">
              <a:avLst/>
            </a:prstGeom>
          </p:spPr>
        </p:pic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CAD1637F-5F2E-5F4D-01CA-A259923A3F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6860" y="3478707"/>
              <a:ext cx="1427083" cy="264820"/>
            </a:xfrm>
            <a:prstGeom prst="rect">
              <a:avLst/>
            </a:prstGeom>
          </p:spPr>
        </p:pic>
      </p:grpSp>
      <p:sp>
        <p:nvSpPr>
          <p:cNvPr id="117" name="Circular Arrow 144">
            <a:extLst>
              <a:ext uri="{FF2B5EF4-FFF2-40B4-BE49-F238E27FC236}">
                <a16:creationId xmlns:a16="http://schemas.microsoft.com/office/drawing/2014/main" id="{86B59B8E-CB3A-6013-33A1-21208109E736}"/>
              </a:ext>
            </a:extLst>
          </p:cNvPr>
          <p:cNvSpPr/>
          <p:nvPr/>
        </p:nvSpPr>
        <p:spPr bwMode="ltGray">
          <a:xfrm rot="16200000" flipV="1">
            <a:off x="10460250" y="3534425"/>
            <a:ext cx="544839" cy="544839"/>
          </a:xfrm>
          <a:prstGeom prst="circularArrow">
            <a:avLst>
              <a:gd name="adj1" fmla="val 11586"/>
              <a:gd name="adj2" fmla="val 1254077"/>
              <a:gd name="adj3" fmla="val 20405964"/>
              <a:gd name="adj4" fmla="val 10800000"/>
              <a:gd name="adj5" fmla="val 15161"/>
            </a:avLst>
          </a:prstGeom>
          <a:solidFill>
            <a:srgbClr val="01A98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21" name="Circular Arrow 145">
            <a:extLst>
              <a:ext uri="{FF2B5EF4-FFF2-40B4-BE49-F238E27FC236}">
                <a16:creationId xmlns:a16="http://schemas.microsoft.com/office/drawing/2014/main" id="{1024281A-5093-5D17-2FAE-63F4E64E26B4}"/>
              </a:ext>
            </a:extLst>
          </p:cNvPr>
          <p:cNvSpPr/>
          <p:nvPr/>
        </p:nvSpPr>
        <p:spPr bwMode="ltGray">
          <a:xfrm rot="16200000" flipV="1">
            <a:off x="10460250" y="2770044"/>
            <a:ext cx="544839" cy="544839"/>
          </a:xfrm>
          <a:prstGeom prst="circularArrow">
            <a:avLst>
              <a:gd name="adj1" fmla="val 11586"/>
              <a:gd name="adj2" fmla="val 1254077"/>
              <a:gd name="adj3" fmla="val 20405964"/>
              <a:gd name="adj4" fmla="val 10800000"/>
              <a:gd name="adj5" fmla="val 15161"/>
            </a:avLst>
          </a:prstGeom>
          <a:solidFill>
            <a:srgbClr val="01A98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25" name="Circular Arrow 146">
            <a:extLst>
              <a:ext uri="{FF2B5EF4-FFF2-40B4-BE49-F238E27FC236}">
                <a16:creationId xmlns:a16="http://schemas.microsoft.com/office/drawing/2014/main" id="{A4EC73F9-DB2D-7B51-5A67-7BFC1FE49E20}"/>
              </a:ext>
            </a:extLst>
          </p:cNvPr>
          <p:cNvSpPr/>
          <p:nvPr/>
        </p:nvSpPr>
        <p:spPr bwMode="ltGray">
          <a:xfrm rot="16200000" flipV="1">
            <a:off x="10460250" y="2041381"/>
            <a:ext cx="544839" cy="544839"/>
          </a:xfrm>
          <a:prstGeom prst="circularArrow">
            <a:avLst>
              <a:gd name="adj1" fmla="val 11586"/>
              <a:gd name="adj2" fmla="val 1254077"/>
              <a:gd name="adj3" fmla="val 20405964"/>
              <a:gd name="adj4" fmla="val 10800000"/>
              <a:gd name="adj5" fmla="val 15161"/>
            </a:avLst>
          </a:prstGeom>
          <a:solidFill>
            <a:srgbClr val="01A982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05B663D4-1CF6-AA9D-219B-F3319DBCC39C}"/>
              </a:ext>
            </a:extLst>
          </p:cNvPr>
          <p:cNvSpPr txBox="1">
            <a:spLocks/>
          </p:cNvSpPr>
          <p:nvPr/>
        </p:nvSpPr>
        <p:spPr>
          <a:xfrm>
            <a:off x="9170717" y="4405127"/>
            <a:ext cx="1667755" cy="3577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MetricHPE Light" panose="020B0303030202060203" pitchFamily="34" charset="0"/>
              <a:buNone/>
              <a:defRPr sz="1400">
                <a:latin typeface="MetricHPE Light" panose="020B0303030202060203" pitchFamily="34" charset="0"/>
              </a:defRPr>
            </a:lvl1pPr>
            <a:lvl2pPr marL="411480" indent="-18288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90000"/>
              <a:buFont typeface="MetricHPE Light" panose="020B0303030202060203" pitchFamily="34" charset="0"/>
              <a:buChar char="•"/>
              <a:defRPr>
                <a:latin typeface="MetricHPE Light" panose="020B0303030202060203" pitchFamily="34" charset="0"/>
              </a:defRPr>
            </a:lvl2pPr>
            <a:lvl3pPr marL="54864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600">
                <a:latin typeface="MetricHPE Light" panose="020B0303030202060203" pitchFamily="34" charset="0"/>
              </a:defRPr>
            </a:lvl3pPr>
            <a:lvl4pPr marL="73152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4pPr>
            <a:lvl5pPr marL="86868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9pPr>
          </a:lstStyle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latin typeface="MetricHPE Light" panose="020B0303030202060203" pitchFamily="34" charset="77"/>
              </a:rPr>
              <a:t>n</a:t>
            </a: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 x32 </a:t>
            </a:r>
            <a:r>
              <a:rPr kumimoji="0" lang="fr-FR" sz="16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Coeurs</a:t>
            </a:r>
            <a:endParaRPr kumimoji="0" lang="fr-FR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tricHPE Light" panose="020B0303030202060203" pitchFamily="34" charset="77"/>
            </a:endParaRP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latin typeface="MetricHPE Light" panose="020B0303030202060203" pitchFamily="34" charset="77"/>
              </a:rPr>
              <a:t>N  x64 </a:t>
            </a:r>
            <a:r>
              <a:rPr lang="fr-FR" sz="1600" dirty="0" err="1">
                <a:latin typeface="MetricHPE Light" panose="020B0303030202060203" pitchFamily="34" charset="77"/>
              </a:rPr>
              <a:t>Coeurs</a:t>
            </a:r>
            <a:endParaRPr kumimoji="0" lang="fr-FR" sz="160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tricHPE Light" panose="020B0303030202060203" pitchFamily="34" charset="77"/>
            </a:endParaRPr>
          </a:p>
        </p:txBody>
      </p:sp>
      <p:sp>
        <p:nvSpPr>
          <p:cNvPr id="151" name="Arrow: Right 238">
            <a:extLst>
              <a:ext uri="{FF2B5EF4-FFF2-40B4-BE49-F238E27FC236}">
                <a16:creationId xmlns:a16="http://schemas.microsoft.com/office/drawing/2014/main" id="{DE6432B8-E904-B3A7-7070-09B3D97814EB}"/>
              </a:ext>
            </a:extLst>
          </p:cNvPr>
          <p:cNvSpPr/>
          <p:nvPr/>
        </p:nvSpPr>
        <p:spPr bwMode="ltGray">
          <a:xfrm>
            <a:off x="7690704" y="3926786"/>
            <a:ext cx="721776" cy="45719"/>
          </a:xfrm>
          <a:prstGeom prst="rightArrow">
            <a:avLst/>
          </a:prstGeom>
          <a:solidFill>
            <a:srgbClr val="01A982"/>
          </a:solidFill>
          <a:ln w="571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677382AD-31E8-9991-8827-C0F94CD5F994}"/>
              </a:ext>
            </a:extLst>
          </p:cNvPr>
          <p:cNvSpPr/>
          <p:nvPr/>
        </p:nvSpPr>
        <p:spPr bwMode="ltGray">
          <a:xfrm>
            <a:off x="907816" y="672463"/>
            <a:ext cx="2638447" cy="76933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 Light" panose="020B0303030202060203" pitchFamily="34" charset="77"/>
              </a:rPr>
              <a:t>Start</a:t>
            </a:r>
            <a:r>
              <a:rPr lang="fr-FR" sz="2400" b="1">
                <a:solidFill>
                  <a:schemeClr val="tx1"/>
                </a:solidFill>
                <a:latin typeface="MetricHPE"/>
              </a:rPr>
              <a:t> </a:t>
            </a:r>
            <a:r>
              <a:rPr kumimoji="0" lang="fr-FR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mall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A3F13C04-53EA-3914-3CB1-423BC386A198}"/>
              </a:ext>
            </a:extLst>
          </p:cNvPr>
          <p:cNvSpPr/>
          <p:nvPr/>
        </p:nvSpPr>
        <p:spPr bwMode="ltGray">
          <a:xfrm>
            <a:off x="4618006" y="672463"/>
            <a:ext cx="3191080" cy="76933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 Light" panose="020B0303030202060203" pitchFamily="34" charset="77"/>
              </a:rPr>
              <a:t>Scale</a:t>
            </a:r>
            <a:r>
              <a:rPr lang="fr-FR" sz="2400" b="1">
                <a:solidFill>
                  <a:schemeClr val="tx1"/>
                </a:solidFill>
                <a:latin typeface="MetricHPE"/>
              </a:rPr>
              <a:t> up   </a:t>
            </a:r>
            <a:r>
              <a:rPr lang="fr-FR" sz="2400">
                <a:solidFill>
                  <a:schemeClr val="tx1"/>
                </a:solidFill>
                <a:latin typeface="MetricHPE Light" panose="020B0303030202060203" pitchFamily="34" charset="77"/>
              </a:rPr>
              <a:t>|</a:t>
            </a:r>
            <a:r>
              <a:rPr lang="fr-FR" sz="2400" b="1">
                <a:solidFill>
                  <a:schemeClr val="tx1"/>
                </a:solidFill>
                <a:latin typeface="MetricHPE"/>
              </a:rPr>
              <a:t>   </a:t>
            </a:r>
            <a:r>
              <a:rPr kumimoji="0" lang="fr-FR" sz="240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 Light" panose="020B0303030202060203" pitchFamily="34" charset="77"/>
              </a:rPr>
              <a:t>Scale</a:t>
            </a:r>
            <a:r>
              <a:rPr lang="fr-FR" sz="2400" b="1">
                <a:solidFill>
                  <a:schemeClr val="tx1"/>
                </a:solidFill>
                <a:latin typeface="MetricHPE"/>
              </a:rPr>
              <a:t> out</a:t>
            </a:r>
          </a:p>
        </p:txBody>
      </p:sp>
      <p:sp>
        <p:nvSpPr>
          <p:cNvPr id="157" name="Freeform 121">
            <a:extLst>
              <a:ext uri="{FF2B5EF4-FFF2-40B4-BE49-F238E27FC236}">
                <a16:creationId xmlns:a16="http://schemas.microsoft.com/office/drawing/2014/main" id="{7D843523-B25F-B987-0BA0-FDCBF2AC9997}"/>
              </a:ext>
            </a:extLst>
          </p:cNvPr>
          <p:cNvSpPr/>
          <p:nvPr/>
        </p:nvSpPr>
        <p:spPr bwMode="ltGray">
          <a:xfrm>
            <a:off x="8326529" y="1518611"/>
            <a:ext cx="3263705" cy="0"/>
          </a:xfrm>
          <a:custGeom>
            <a:avLst/>
            <a:gdLst>
              <a:gd name="connsiteX0" fmla="*/ 3263705 w 3263705"/>
              <a:gd name="connsiteY0" fmla="*/ 0 h 0"/>
              <a:gd name="connsiteX1" fmla="*/ 0 w 326370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63705">
                <a:moveTo>
                  <a:pt x="3263705" y="0"/>
                </a:moveTo>
                <a:lnTo>
                  <a:pt x="0" y="0"/>
                </a:lnTo>
              </a:path>
            </a:pathLst>
          </a:custGeom>
          <a:noFill/>
          <a:ln w="57150">
            <a:solidFill>
              <a:srgbClr val="32D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8" name="Freeform 122">
            <a:extLst>
              <a:ext uri="{FF2B5EF4-FFF2-40B4-BE49-F238E27FC236}">
                <a16:creationId xmlns:a16="http://schemas.microsoft.com/office/drawing/2014/main" id="{0AEC0DCD-EF75-3582-983B-98428932B843}"/>
              </a:ext>
            </a:extLst>
          </p:cNvPr>
          <p:cNvSpPr/>
          <p:nvPr/>
        </p:nvSpPr>
        <p:spPr bwMode="ltGray">
          <a:xfrm>
            <a:off x="4557931" y="1518611"/>
            <a:ext cx="3263705" cy="0"/>
          </a:xfrm>
          <a:custGeom>
            <a:avLst/>
            <a:gdLst>
              <a:gd name="connsiteX0" fmla="*/ 3263705 w 3263705"/>
              <a:gd name="connsiteY0" fmla="*/ 0 h 0"/>
              <a:gd name="connsiteX1" fmla="*/ 0 w 326370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63705">
                <a:moveTo>
                  <a:pt x="3263705" y="0"/>
                </a:moveTo>
                <a:lnTo>
                  <a:pt x="0" y="0"/>
                </a:lnTo>
              </a:path>
            </a:pathLst>
          </a:custGeom>
          <a:noFill/>
          <a:ln w="57150">
            <a:solidFill>
              <a:srgbClr val="32D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9" name="Freeform 123">
            <a:extLst>
              <a:ext uri="{FF2B5EF4-FFF2-40B4-BE49-F238E27FC236}">
                <a16:creationId xmlns:a16="http://schemas.microsoft.com/office/drawing/2014/main" id="{78F07C67-DB26-5E34-F341-3A33BABE2E9E}"/>
              </a:ext>
            </a:extLst>
          </p:cNvPr>
          <p:cNvSpPr/>
          <p:nvPr/>
        </p:nvSpPr>
        <p:spPr bwMode="ltGray">
          <a:xfrm>
            <a:off x="460283" y="1518610"/>
            <a:ext cx="3533516" cy="45719"/>
          </a:xfrm>
          <a:custGeom>
            <a:avLst/>
            <a:gdLst>
              <a:gd name="connsiteX0" fmla="*/ 3263705 w 3263705"/>
              <a:gd name="connsiteY0" fmla="*/ 0 h 0"/>
              <a:gd name="connsiteX1" fmla="*/ 0 w 326370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63705">
                <a:moveTo>
                  <a:pt x="3263705" y="0"/>
                </a:moveTo>
                <a:lnTo>
                  <a:pt x="0" y="0"/>
                </a:lnTo>
              </a:path>
            </a:pathLst>
          </a:custGeom>
          <a:noFill/>
          <a:ln w="57150">
            <a:solidFill>
              <a:srgbClr val="32D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FC6D9382-84BB-FF07-1FB6-9B60ABDD9448}"/>
              </a:ext>
            </a:extLst>
          </p:cNvPr>
          <p:cNvSpPr/>
          <p:nvPr/>
        </p:nvSpPr>
        <p:spPr bwMode="ltGray">
          <a:xfrm>
            <a:off x="8345945" y="672463"/>
            <a:ext cx="3191080" cy="76933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b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 Light" panose="020B0303030202060203" pitchFamily="34" charset="77"/>
              </a:rPr>
              <a:t>Scale</a:t>
            </a:r>
            <a:r>
              <a:rPr lang="fr-FR" sz="2400" b="1">
                <a:solidFill>
                  <a:schemeClr val="tx1"/>
                </a:solidFill>
                <a:latin typeface="MetricHPE"/>
              </a:rPr>
              <a:t> up   </a:t>
            </a:r>
            <a:r>
              <a:rPr lang="fr-FR" sz="2400">
                <a:solidFill>
                  <a:schemeClr val="tx1"/>
                </a:solidFill>
                <a:latin typeface="MetricHPE Light" panose="020B0303030202060203" pitchFamily="34" charset="77"/>
              </a:rPr>
              <a:t>|</a:t>
            </a:r>
            <a:r>
              <a:rPr lang="fr-FR" sz="2400" b="1">
                <a:solidFill>
                  <a:schemeClr val="tx1"/>
                </a:solidFill>
                <a:latin typeface="MetricHPE"/>
              </a:rPr>
              <a:t>   </a:t>
            </a:r>
            <a:r>
              <a:rPr kumimoji="0" lang="fr-FR" sz="240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 Light" panose="020B0303030202060203" pitchFamily="34" charset="77"/>
              </a:rPr>
              <a:t>Scale</a:t>
            </a:r>
            <a:r>
              <a:rPr lang="fr-FR" sz="2400" b="1">
                <a:solidFill>
                  <a:schemeClr val="tx1"/>
                </a:solidFill>
                <a:latin typeface="MetricHPE"/>
              </a:rPr>
              <a:t> 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83FFDC1-8AAC-DC43-F7DA-2C3E33F83792}"/>
              </a:ext>
            </a:extLst>
          </p:cNvPr>
          <p:cNvSpPr/>
          <p:nvPr/>
        </p:nvSpPr>
        <p:spPr bwMode="ltGray">
          <a:xfrm>
            <a:off x="10688716" y="81346"/>
            <a:ext cx="1366622" cy="649489"/>
          </a:xfrm>
          <a:prstGeom prst="rect">
            <a:avLst/>
          </a:prstGeom>
          <a:solidFill>
            <a:schemeClr val="accent1"/>
          </a:solidFill>
          <a:ln w="57150">
            <a:solidFill>
              <a:srgbClr val="32DA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defRPr/>
            </a:pP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Scalabilité sur 3 axes :</a:t>
            </a:r>
            <a:b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</a:br>
            <a:r>
              <a:rPr kumimoji="0" lang="fr-FR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Arial" panose="020B0604020202020204" pitchFamily="34" charset="0"/>
              </a:rPr>
              <a:t>performance, volumétrie et disponibilité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0157AA2-69A7-2FE5-C898-FB4ED83DC2E3}"/>
              </a:ext>
            </a:extLst>
          </p:cNvPr>
          <p:cNvSpPr txBox="1">
            <a:spLocks/>
          </p:cNvSpPr>
          <p:nvPr/>
        </p:nvSpPr>
        <p:spPr>
          <a:xfrm>
            <a:off x="5969626" y="2059812"/>
            <a:ext cx="1798806" cy="3577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MetricHPE Light" panose="020B0303030202060203" pitchFamily="34" charset="0"/>
              <a:buNone/>
              <a:defRPr sz="1400">
                <a:latin typeface="MetricHPE Light" panose="020B0303030202060203" pitchFamily="34" charset="0"/>
              </a:defRPr>
            </a:lvl1pPr>
            <a:lvl2pPr marL="411480" indent="-18288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90000"/>
              <a:buFont typeface="MetricHPE Light" panose="020B0303030202060203" pitchFamily="34" charset="0"/>
              <a:buChar char="•"/>
              <a:defRPr>
                <a:latin typeface="MetricHPE Light" panose="020B0303030202060203" pitchFamily="34" charset="0"/>
              </a:defRPr>
            </a:lvl2pPr>
            <a:lvl3pPr marL="54864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600">
                <a:latin typeface="MetricHPE Light" panose="020B0303030202060203" pitchFamily="34" charset="0"/>
              </a:defRPr>
            </a:lvl3pPr>
            <a:lvl4pPr marL="73152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4pPr>
            <a:lvl5pPr marL="86868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latin typeface="MetricHPE Light" panose="020B0303030202060203" pitchFamily="34" charset="77"/>
              </a:rPr>
              <a:t>12</a:t>
            </a: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 x </a:t>
            </a:r>
            <a:r>
              <a:rPr kumimoji="0" lang="fr-FR" sz="16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NVMe</a:t>
            </a: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 enclosures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964A0EB-0416-C901-DA69-DC1E37A343C8}"/>
              </a:ext>
            </a:extLst>
          </p:cNvPr>
          <p:cNvSpPr txBox="1">
            <a:spLocks/>
          </p:cNvSpPr>
          <p:nvPr/>
        </p:nvSpPr>
        <p:spPr>
          <a:xfrm>
            <a:off x="9058978" y="1592351"/>
            <a:ext cx="1798806" cy="35771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indent="0" algn="ctr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MetricHPE Light" panose="020B0303030202060203" pitchFamily="34" charset="0"/>
              <a:buNone/>
              <a:defRPr sz="1400">
                <a:latin typeface="MetricHPE Light" panose="020B0303030202060203" pitchFamily="34" charset="0"/>
              </a:defRPr>
            </a:lvl1pPr>
            <a:lvl2pPr marL="411480" indent="-18288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SzPct val="90000"/>
              <a:buFont typeface="MetricHPE Light" panose="020B0303030202060203" pitchFamily="34" charset="0"/>
              <a:buChar char="•"/>
              <a:defRPr>
                <a:latin typeface="MetricHPE Light" panose="020B0303030202060203" pitchFamily="34" charset="0"/>
              </a:defRPr>
            </a:lvl2pPr>
            <a:lvl3pPr marL="54864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600">
                <a:latin typeface="MetricHPE Light" panose="020B0303030202060203" pitchFamily="34" charset="0"/>
              </a:defRPr>
            </a:lvl3pPr>
            <a:lvl4pPr marL="73152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4pPr>
            <a:lvl5pPr marL="868680" indent="-137160">
              <a:lnSpc>
                <a:spcPct val="90000"/>
              </a:lnSpc>
              <a:spcBef>
                <a:spcPts val="4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400">
                <a:latin typeface="MetricHPE Light" panose="020B0303030202060203" pitchFamily="34" charset="0"/>
              </a:defRPr>
            </a:lvl5pPr>
            <a:lvl6pPr marL="105156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6pPr>
            <a:lvl7pPr marL="118872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7pPr>
            <a:lvl8pPr marL="137160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8pPr>
            <a:lvl9pPr marL="1554480" indent="-13716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MetricHPE Light" panose="020B0303030202060203" pitchFamily="34" charset="0"/>
              <a:buChar char="–"/>
              <a:defRPr sz="1200"/>
            </a:lvl9pPr>
          </a:lstStyle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600" dirty="0">
                <a:latin typeface="MetricHPE Light" panose="020B0303030202060203" pitchFamily="34" charset="77"/>
              </a:rPr>
              <a:t>n</a:t>
            </a: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 x </a:t>
            </a:r>
            <a:r>
              <a:rPr kumimoji="0" lang="fr-FR" sz="160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NVMe</a:t>
            </a:r>
            <a:r>
              <a:rPr kumimoji="0" lang="fr-FR" sz="16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</a:rPr>
              <a:t> enclosures</a:t>
            </a:r>
          </a:p>
        </p:txBody>
      </p:sp>
    </p:spTree>
    <p:extLst>
      <p:ext uri="{BB962C8B-B14F-4D97-AF65-F5344CB8AC3E}">
        <p14:creationId xmlns:p14="http://schemas.microsoft.com/office/powerpoint/2010/main" val="273226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401B76-BD93-7344-C061-204A945C7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16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3E0E5E-2985-B18A-CE23-46AED03B4C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DD3276-CC81-715B-ED3B-C58A406F3B2C}"/>
              </a:ext>
            </a:extLst>
          </p:cNvPr>
          <p:cNvSpPr txBox="1"/>
          <p:nvPr/>
        </p:nvSpPr>
        <p:spPr>
          <a:xfrm>
            <a:off x="359829" y="948010"/>
            <a:ext cx="5096190" cy="47897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>
              <a:lnSpc>
                <a:spcPct val="90000"/>
              </a:lnSpc>
              <a:buFont typeface="MetricHPE" panose="020B0503030202060203" pitchFamily="34" charset="0"/>
              <a:buNone/>
            </a:pPr>
            <a:r>
              <a:rPr lang="en-US" sz="2800">
                <a:latin typeface="MetricHPE Light" panose="020B0303030202060203" pitchFamily="34" charset="77"/>
              </a:rPr>
              <a:t>Introducing HPE GreenLake for</a:t>
            </a:r>
            <a:br>
              <a:rPr lang="en-US" sz="3600" b="1"/>
            </a:br>
            <a:r>
              <a:rPr lang="en-US" sz="4400" b="1"/>
              <a:t>File Storag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0C36F6-55F0-6CD3-A883-8C0F0A201D8F}"/>
              </a:ext>
            </a:extLst>
          </p:cNvPr>
          <p:cNvSpPr txBox="1"/>
          <p:nvPr/>
        </p:nvSpPr>
        <p:spPr>
          <a:xfrm>
            <a:off x="476159" y="2135879"/>
            <a:ext cx="3021998" cy="200451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>
              <a:lnSpc>
                <a:spcPct val="90000"/>
              </a:lnSpc>
              <a:buFont typeface="MetricHPE" panose="020B0503030202060203" pitchFamily="34" charset="0"/>
              <a:buNone/>
            </a:pPr>
            <a:r>
              <a:rPr lang="en-US" sz="2000" dirty="0">
                <a:latin typeface="MetricHPE Light" panose="020B0303030202060203" pitchFamily="34" charset="77"/>
              </a:rPr>
              <a:t>Enterprise grade, scale-out File storage to supercharge </a:t>
            </a:r>
          </a:p>
          <a:p>
            <a:pPr marL="0" indent="0">
              <a:lnSpc>
                <a:spcPct val="90000"/>
              </a:lnSpc>
              <a:buFont typeface="MetricHPE" panose="020B0503030202060203" pitchFamily="34" charset="0"/>
              <a:buNone/>
            </a:pPr>
            <a:r>
              <a:rPr lang="en-US" sz="2000" dirty="0">
                <a:latin typeface="MetricHPE Light" panose="020B0303030202060203" pitchFamily="34" charset="77"/>
              </a:rPr>
              <a:t>data-intensive workloads from 200TB to 100+PB –</a:t>
            </a:r>
          </a:p>
          <a:p>
            <a:pPr marL="0" indent="0">
              <a:lnSpc>
                <a:spcPct val="90000"/>
              </a:lnSpc>
              <a:buFont typeface="MetricHPE" panose="020B0503030202060203" pitchFamily="34" charset="0"/>
              <a:buNone/>
            </a:pPr>
            <a:endParaRPr lang="en-US" sz="2000" dirty="0">
              <a:latin typeface="MetricHPE Light" panose="020B0303030202060203" pitchFamily="34" charset="77"/>
            </a:endParaRPr>
          </a:p>
          <a:p>
            <a:pPr marL="0" indent="0">
              <a:lnSpc>
                <a:spcPct val="90000"/>
              </a:lnSpc>
              <a:buFont typeface="MetricHPE" panose="020B0503030202060203" pitchFamily="34" charset="0"/>
              <a:buNone/>
            </a:pPr>
            <a:r>
              <a:rPr lang="en-US" sz="2000" dirty="0">
                <a:latin typeface="MetricHPE Light" panose="020B0303030202060203" pitchFamily="34" charset="77"/>
              </a:rPr>
              <a:t>Data reduction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133D94D7-E666-E375-D747-9BBA909339E0}"/>
              </a:ext>
            </a:extLst>
          </p:cNvPr>
          <p:cNvGrpSpPr/>
          <p:nvPr/>
        </p:nvGrpSpPr>
        <p:grpSpPr>
          <a:xfrm>
            <a:off x="476159" y="4266415"/>
            <a:ext cx="11199006" cy="1451444"/>
            <a:chOff x="3623079" y="5480363"/>
            <a:chExt cx="7441160" cy="664083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D520B70-1634-DBF2-4797-EC8E014DDF94}"/>
                </a:ext>
              </a:extLst>
            </p:cNvPr>
            <p:cNvSpPr txBox="1"/>
            <p:nvPr/>
          </p:nvSpPr>
          <p:spPr>
            <a:xfrm>
              <a:off x="3623079" y="5480363"/>
              <a:ext cx="2333583" cy="664083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rgbClr val="32DAC8"/>
              </a:solidFill>
              <a:miter lim="800000"/>
            </a:ln>
          </p:spPr>
          <p:txBody>
            <a:bodyPr wrap="square" lIns="90000" tIns="90000" rIns="90000" bIns="90000" rtlCol="0" anchor="ctr" anchorCtr="0">
              <a:noAutofit/>
            </a:bodyPr>
            <a:lstStyle/>
            <a:p>
              <a:pPr marL="0" indent="0" algn="ctr">
                <a:lnSpc>
                  <a:spcPct val="90000"/>
                </a:lnSpc>
                <a:buFont typeface="MetricHPE" panose="020B0503030202060203" pitchFamily="34" charset="0"/>
                <a:buNone/>
              </a:pPr>
              <a:r>
                <a:rPr lang="en-US" sz="2200" b="1"/>
                <a:t>Accelerate</a:t>
              </a:r>
              <a:br>
                <a:rPr lang="en-US" sz="2200" b="1"/>
              </a:br>
              <a:r>
                <a:rPr lang="en-US" sz="2000">
                  <a:latin typeface="MetricHPE Light" panose="020B0303030202060203" pitchFamily="34" charset="77"/>
                </a:rPr>
                <a:t>with enterprise </a:t>
              </a:r>
              <a:br>
                <a:rPr lang="en-US" sz="2000">
                  <a:latin typeface="MetricHPE Light" panose="020B0303030202060203" pitchFamily="34" charset="77"/>
                </a:rPr>
              </a:br>
              <a:r>
                <a:rPr lang="en-US" sz="2000">
                  <a:latin typeface="MetricHPE Light" panose="020B0303030202060203" pitchFamily="34" charset="77"/>
                </a:rPr>
                <a:t>performance at scale</a:t>
              </a:r>
              <a:endParaRPr lang="en-US">
                <a:latin typeface="MetricHPE Light" panose="020B0303030202060203" pitchFamily="34" charset="77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67DDEA4-D670-036B-FFD6-15AD15575993}"/>
                </a:ext>
              </a:extLst>
            </p:cNvPr>
            <p:cNvSpPr txBox="1"/>
            <p:nvPr/>
          </p:nvSpPr>
          <p:spPr>
            <a:xfrm>
              <a:off x="6176867" y="5480363"/>
              <a:ext cx="2333583" cy="664083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rgbClr val="32DAC8"/>
              </a:solidFill>
              <a:miter lim="800000"/>
            </a:ln>
          </p:spPr>
          <p:txBody>
            <a:bodyPr wrap="square" lIns="90000" tIns="90000" rIns="90000" bIns="90000" rtlCol="0" anchor="ctr" anchorCtr="0">
              <a:noAutofit/>
            </a:bodyPr>
            <a:lstStyle/>
            <a:p>
              <a:pPr marL="0" indent="0" algn="ctr">
                <a:lnSpc>
                  <a:spcPct val="90000"/>
                </a:lnSpc>
                <a:buFont typeface="MetricHPE" panose="020B0503030202060203" pitchFamily="34" charset="0"/>
                <a:buNone/>
              </a:pPr>
              <a:r>
                <a:rPr lang="en-US" sz="2200" b="1"/>
                <a:t>Simplify</a:t>
              </a:r>
              <a:br>
                <a:rPr lang="en-US" sz="2200" b="1"/>
              </a:br>
              <a:r>
                <a:rPr lang="en-US" sz="2000">
                  <a:latin typeface="MetricHPE Light" panose="020B0303030202060203" pitchFamily="34" charset="77"/>
                </a:rPr>
                <a:t>with an intuitive </a:t>
              </a:r>
            </a:p>
            <a:p>
              <a:pPr marL="0" indent="0" algn="ctr">
                <a:lnSpc>
                  <a:spcPct val="90000"/>
                </a:lnSpc>
                <a:buFont typeface="MetricHPE" panose="020B0503030202060203" pitchFamily="34" charset="0"/>
                <a:buNone/>
              </a:pPr>
              <a:r>
                <a:rPr lang="en-US" sz="2000">
                  <a:latin typeface="MetricHPE Light" panose="020B0303030202060203" pitchFamily="34" charset="77"/>
                </a:rPr>
                <a:t>cloud experience</a:t>
              </a:r>
              <a:endParaRPr lang="en-US">
                <a:latin typeface="MetricHPE Light" panose="020B0303030202060203" pitchFamily="34" charset="77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9D89A20-FE46-0AFC-5D74-95459AA9D209}"/>
                </a:ext>
              </a:extLst>
            </p:cNvPr>
            <p:cNvSpPr txBox="1"/>
            <p:nvPr/>
          </p:nvSpPr>
          <p:spPr>
            <a:xfrm>
              <a:off x="8730656" y="5480363"/>
              <a:ext cx="2333583" cy="664083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rgbClr val="32DAC8"/>
              </a:solidFill>
              <a:miter lim="800000"/>
            </a:ln>
          </p:spPr>
          <p:txBody>
            <a:bodyPr wrap="square" lIns="90000" tIns="90000" rIns="90000" bIns="90000" rtlCol="0" anchor="ctr" anchorCtr="0">
              <a:noAutofit/>
            </a:bodyPr>
            <a:lstStyle/>
            <a:p>
              <a:pPr marL="0" indent="0" algn="ctr">
                <a:lnSpc>
                  <a:spcPct val="90000"/>
                </a:lnSpc>
                <a:buFont typeface="MetricHPE" panose="020B0503030202060203" pitchFamily="34" charset="0"/>
                <a:buNone/>
              </a:pPr>
              <a:r>
                <a:rPr lang="en-US" b="1" dirty="0"/>
                <a:t>Performance</a:t>
              </a:r>
              <a:br>
                <a:rPr lang="en-US" b="1" dirty="0"/>
              </a:br>
              <a:r>
                <a:rPr lang="en-US" b="1" dirty="0"/>
                <a:t>80x </a:t>
              </a:r>
              <a:r>
                <a:rPr lang="en-US" sz="1600" dirty="0">
                  <a:latin typeface="MetricHPE Light" panose="020B0303030202060203" pitchFamily="34" charset="77"/>
                </a:rPr>
                <a:t>faster NFS read performance than legacy NAS</a:t>
              </a:r>
              <a:br>
                <a:rPr lang="en-US" sz="1600" dirty="0">
                  <a:latin typeface="MetricHPE Light" panose="020B0303030202060203" pitchFamily="34" charset="77"/>
                </a:rPr>
              </a:br>
              <a:r>
                <a:rPr lang="en-US" sz="1600" dirty="0">
                  <a:latin typeface="MetricHPE Light" panose="020B0303030202060203" pitchFamily="34" charset="77"/>
                </a:rPr>
                <a:t>100s of GB/sec of throughput and beyond</a:t>
              </a:r>
              <a:br>
                <a:rPr lang="en-US" sz="1600" dirty="0">
                  <a:latin typeface="MetricHPE Light" panose="020B0303030202060203" pitchFamily="34" charset="77"/>
                </a:rPr>
              </a:br>
              <a:endParaRPr lang="en-US" sz="1600" dirty="0">
                <a:latin typeface="MetricHPE Light" panose="020B0303030202060203" pitchFamily="34" charset="77"/>
              </a:endParaRPr>
            </a:p>
          </p:txBody>
        </p:sp>
      </p:grpSp>
      <p:sp>
        <p:nvSpPr>
          <p:cNvPr id="25" name="Freeform 24">
            <a:extLst>
              <a:ext uri="{FF2B5EF4-FFF2-40B4-BE49-F238E27FC236}">
                <a16:creationId xmlns:a16="http://schemas.microsoft.com/office/drawing/2014/main" id="{43CC8347-C1C4-9FBB-FCE2-6FDD8E19F03C}"/>
              </a:ext>
            </a:extLst>
          </p:cNvPr>
          <p:cNvSpPr/>
          <p:nvPr/>
        </p:nvSpPr>
        <p:spPr bwMode="ltGray">
          <a:xfrm>
            <a:off x="476159" y="1781430"/>
            <a:ext cx="750277" cy="0"/>
          </a:xfrm>
          <a:custGeom>
            <a:avLst/>
            <a:gdLst>
              <a:gd name="connsiteX0" fmla="*/ 0 w 750277"/>
              <a:gd name="connsiteY0" fmla="*/ 0 h 0"/>
              <a:gd name="connsiteX1" fmla="*/ 750277 w 750277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50277">
                <a:moveTo>
                  <a:pt x="0" y="0"/>
                </a:moveTo>
                <a:lnTo>
                  <a:pt x="750277" y="0"/>
                </a:lnTo>
              </a:path>
            </a:pathLst>
          </a:custGeom>
          <a:noFill/>
          <a:ln w="57150">
            <a:solidFill>
              <a:srgbClr val="01A9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C14A4DD-6705-BC92-DFF8-5B1ECBC5AE8D}"/>
              </a:ext>
            </a:extLst>
          </p:cNvPr>
          <p:cNvGrpSpPr/>
          <p:nvPr/>
        </p:nvGrpSpPr>
        <p:grpSpPr>
          <a:xfrm>
            <a:off x="6075661" y="554875"/>
            <a:ext cx="5554056" cy="3407883"/>
            <a:chOff x="6214185" y="846896"/>
            <a:chExt cx="5554056" cy="340788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9CF4A2D-FFC7-5343-E9F2-DBA0C8F25A3C}"/>
                </a:ext>
              </a:extLst>
            </p:cNvPr>
            <p:cNvSpPr/>
            <p:nvPr/>
          </p:nvSpPr>
          <p:spPr bwMode="ltGray">
            <a:xfrm>
              <a:off x="6356142" y="1093569"/>
              <a:ext cx="5412099" cy="316121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521FDE4-5ABC-8054-356B-E97EB5523A4A}"/>
                </a:ext>
              </a:extLst>
            </p:cNvPr>
            <p:cNvSpPr txBox="1"/>
            <p:nvPr/>
          </p:nvSpPr>
          <p:spPr>
            <a:xfrm>
              <a:off x="6214185" y="846896"/>
              <a:ext cx="5412098" cy="32729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A70B560-3D73-CF13-CB18-882275272748}"/>
                </a:ext>
              </a:extLst>
            </p:cNvPr>
            <p:cNvSpPr txBox="1"/>
            <p:nvPr/>
          </p:nvSpPr>
          <p:spPr>
            <a:xfrm>
              <a:off x="10036751" y="992937"/>
              <a:ext cx="1324402" cy="4801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Data processing/</a:t>
              </a:r>
              <a:b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</a:b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data lakes</a:t>
              </a:r>
            </a:p>
          </p:txBody>
        </p:sp>
        <p:pic>
          <p:nvPicPr>
            <p:cNvPr id="8" name="Picture 2" descr="A little stuffed animal called Hadoop - Perficient Blogs">
              <a:extLst>
                <a:ext uri="{FF2B5EF4-FFF2-40B4-BE49-F238E27FC236}">
                  <a16:creationId xmlns:a16="http://schemas.microsoft.com/office/drawing/2014/main" id="{1881100A-1E82-47B2-2BFD-54C77BD5369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04239" y="1757787"/>
              <a:ext cx="372089" cy="26604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12" descr="Apache Spark Streaming – ThirdEye Data">
              <a:extLst>
                <a:ext uri="{FF2B5EF4-FFF2-40B4-BE49-F238E27FC236}">
                  <a16:creationId xmlns:a16="http://schemas.microsoft.com/office/drawing/2014/main" id="{556D39E5-29F4-615C-1E14-D22AE02CF8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85563" y="1625893"/>
              <a:ext cx="828118" cy="5112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14">
              <a:extLst>
                <a:ext uri="{FF2B5EF4-FFF2-40B4-BE49-F238E27FC236}">
                  <a16:creationId xmlns:a16="http://schemas.microsoft.com/office/drawing/2014/main" id="{5AEDE7D3-038C-F8BB-B9A0-87372D4C7F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07059" y="1456936"/>
              <a:ext cx="469269" cy="243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6" descr="Python (programming language) - Wikipedia">
              <a:extLst>
                <a:ext uri="{FF2B5EF4-FFF2-40B4-BE49-F238E27FC236}">
                  <a16:creationId xmlns:a16="http://schemas.microsoft.com/office/drawing/2014/main" id="{E839C632-D968-D11E-CF34-6F3AAF0E02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28773" y="1465251"/>
              <a:ext cx="239967" cy="2399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BF1A21D-7BEE-63D8-18B8-12C1D025E36E}"/>
                </a:ext>
              </a:extLst>
            </p:cNvPr>
            <p:cNvSpPr txBox="1"/>
            <p:nvPr/>
          </p:nvSpPr>
          <p:spPr>
            <a:xfrm>
              <a:off x="6516372" y="992937"/>
              <a:ext cx="1407758" cy="2862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Cloud-native apps</a:t>
              </a:r>
            </a:p>
          </p:txBody>
        </p:sp>
        <p:pic>
          <p:nvPicPr>
            <p:cNvPr id="13" name="Picture 26" descr="Kubernetes">
              <a:extLst>
                <a:ext uri="{FF2B5EF4-FFF2-40B4-BE49-F238E27FC236}">
                  <a16:creationId xmlns:a16="http://schemas.microsoft.com/office/drawing/2014/main" id="{E022EFDA-E57C-6AFE-B90A-25056C1ADC9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0212" y="1339386"/>
              <a:ext cx="876710" cy="1893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8" descr="OpenShift Logo Download Vector">
              <a:extLst>
                <a:ext uri="{FF2B5EF4-FFF2-40B4-BE49-F238E27FC236}">
                  <a16:creationId xmlns:a16="http://schemas.microsoft.com/office/drawing/2014/main" id="{D3B96096-9E31-EFED-652E-B6417A4867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1193" y="1632222"/>
              <a:ext cx="724555" cy="186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30" descr="Google Cloud Solutions - SADA | Cloud Technology Services | Google Cloud  Premier Partner">
              <a:extLst>
                <a:ext uri="{FF2B5EF4-FFF2-40B4-BE49-F238E27FC236}">
                  <a16:creationId xmlns:a16="http://schemas.microsoft.com/office/drawing/2014/main" id="{57A8527D-653D-5605-B3B1-785432ED02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18526" y="1605768"/>
              <a:ext cx="646009" cy="1981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D4AA29B-B386-93AC-9E75-89360BDAE2DB}"/>
                </a:ext>
              </a:extLst>
            </p:cNvPr>
            <p:cNvSpPr txBox="1"/>
            <p:nvPr/>
          </p:nvSpPr>
          <p:spPr>
            <a:xfrm>
              <a:off x="8286656" y="992937"/>
              <a:ext cx="1540806" cy="2862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BI &amp; ML frameworks</a:t>
              </a:r>
            </a:p>
          </p:txBody>
        </p:sp>
        <p:pic>
          <p:nvPicPr>
            <p:cNvPr id="26" name="Picture 25" descr="Shape&#10;&#10;Description automatically generated with medium confidence">
              <a:extLst>
                <a:ext uri="{FF2B5EF4-FFF2-40B4-BE49-F238E27FC236}">
                  <a16:creationId xmlns:a16="http://schemas.microsoft.com/office/drawing/2014/main" id="{2923B7BD-E18B-C81E-EE16-5E3BC20FB8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824172" y="1520009"/>
              <a:ext cx="805296" cy="199751"/>
            </a:xfrm>
            <a:prstGeom prst="rect">
              <a:avLst/>
            </a:prstGeom>
          </p:spPr>
        </p:pic>
        <p:pic>
          <p:nvPicPr>
            <p:cNvPr id="27" name="Picture 18" descr="Caffe2 | A New Lightweight, Modular, and Scalable Deep Learning Framework">
              <a:extLst>
                <a:ext uri="{FF2B5EF4-FFF2-40B4-BE49-F238E27FC236}">
                  <a16:creationId xmlns:a16="http://schemas.microsoft.com/office/drawing/2014/main" id="{B08D75E3-378E-139D-5562-56D4BF9965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62060" y="1744447"/>
              <a:ext cx="704390" cy="369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7" descr="GitHub - tensorflow/docs: TensorFlow documentation">
              <a:extLst>
                <a:ext uri="{FF2B5EF4-FFF2-40B4-BE49-F238E27FC236}">
                  <a16:creationId xmlns:a16="http://schemas.microsoft.com/office/drawing/2014/main" id="{D556AE46-6C47-66CE-78EF-1EC544AE51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9442" y="1223426"/>
              <a:ext cx="1031299" cy="3460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28" descr="A picture containing logo&#10;&#10;Description automatically generated">
              <a:extLst>
                <a:ext uri="{FF2B5EF4-FFF2-40B4-BE49-F238E27FC236}">
                  <a16:creationId xmlns:a16="http://schemas.microsoft.com/office/drawing/2014/main" id="{A6D51440-EB7E-05FB-A23A-3EF500EFC4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10" b="-7"/>
            <a:stretch/>
          </p:blipFill>
          <p:spPr>
            <a:xfrm>
              <a:off x="8354855" y="1695561"/>
              <a:ext cx="584136" cy="246351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8F731C81-82FF-6298-B0DC-8E054EB86B7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8004615" y="3322460"/>
              <a:ext cx="1963596" cy="364379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6B55AE9-A34A-F7F4-0D5D-66028AD07F05}"/>
                </a:ext>
              </a:extLst>
            </p:cNvPr>
            <p:cNvSpPr txBox="1"/>
            <p:nvPr/>
          </p:nvSpPr>
          <p:spPr>
            <a:xfrm>
              <a:off x="6639533" y="2239268"/>
              <a:ext cx="4563323" cy="610491"/>
            </a:xfrm>
            <a:prstGeom prst="rect">
              <a:avLst/>
            </a:prstGeom>
            <a:noFill/>
            <a:ln w="57150">
              <a:solidFill>
                <a:srgbClr val="01A982"/>
              </a:solidFill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HPE GreenLake for File Storage O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rPr>
                <a:t>leveraging </a:t>
              </a: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VAST Data software</a:t>
              </a:r>
            </a:p>
          </p:txBody>
        </p:sp>
        <p:sp>
          <p:nvSpPr>
            <p:cNvPr id="32" name="Cross 31">
              <a:extLst>
                <a:ext uri="{FF2B5EF4-FFF2-40B4-BE49-F238E27FC236}">
                  <a16:creationId xmlns:a16="http://schemas.microsoft.com/office/drawing/2014/main" id="{809B15DD-566D-2640-731E-324EDB492A41}"/>
                </a:ext>
              </a:extLst>
            </p:cNvPr>
            <p:cNvSpPr/>
            <p:nvPr/>
          </p:nvSpPr>
          <p:spPr bwMode="ltGray">
            <a:xfrm>
              <a:off x="8863972" y="2974773"/>
              <a:ext cx="269123" cy="263069"/>
            </a:xfrm>
            <a:prstGeom prst="plus">
              <a:avLst>
                <a:gd name="adj" fmla="val 35556"/>
              </a:avLst>
            </a:prstGeom>
            <a:solidFill>
              <a:srgbClr val="01A982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2E797AE-CA26-45FA-1A14-137C803788C6}"/>
                </a:ext>
              </a:extLst>
            </p:cNvPr>
            <p:cNvSpPr txBox="1"/>
            <p:nvPr/>
          </p:nvSpPr>
          <p:spPr>
            <a:xfrm>
              <a:off x="7716922" y="3721226"/>
              <a:ext cx="2567076" cy="341632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Alletra Storage MP</a:t>
              </a:r>
            </a:p>
          </p:txBody>
        </p:sp>
      </p:grpSp>
      <p:pic>
        <p:nvPicPr>
          <p:cNvPr id="17" name="Picture 2">
            <a:extLst>
              <a:ext uri="{FF2B5EF4-FFF2-40B4-BE49-F238E27FC236}">
                <a16:creationId xmlns:a16="http://schemas.microsoft.com/office/drawing/2014/main" id="{C2F1548D-2F19-3AFE-F629-FABAFE7A5D30}"/>
              </a:ext>
            </a:extLst>
          </p:cNvPr>
          <p:cNvPicPr>
            <a:picLocks noChangeAspect="1" noChangeArrowheads="1"/>
          </p:cNvPicPr>
          <p:nvPr/>
        </p:nvPicPr>
        <p:blipFill>
          <a:blip r:link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46" y="6331563"/>
            <a:ext cx="3116263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0808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65F682E-3FF7-FC76-88FE-889DF8853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un any app without compromise with a 100% data availability guarante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8401B76-BD93-7344-C061-204A945C76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/>
              <a:pPr defTabSz="1088421"/>
              <a:t>17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73E0E5E-2985-B18A-CE23-46AED03B4CB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onfidential | Authorized HPE Partner Use Onl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8998C3-F418-79D6-0496-BED2D1ED9385}"/>
              </a:ext>
            </a:extLst>
          </p:cNvPr>
          <p:cNvSpPr txBox="1"/>
          <p:nvPr/>
        </p:nvSpPr>
        <p:spPr>
          <a:xfrm>
            <a:off x="4595996" y="1393855"/>
            <a:ext cx="3392901" cy="424732"/>
          </a:xfrm>
          <a:prstGeom prst="rect">
            <a:avLst/>
          </a:prstGeom>
          <a:solidFill>
            <a:schemeClr val="bg1"/>
          </a:solidFill>
          <a:ln w="57150">
            <a:solidFill>
              <a:srgbClr val="32DAC8"/>
            </a:solidFill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2400" b="1"/>
              <a:t>Always 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41ADD4-9FF1-6EC9-87C8-FE453DFBF0C5}"/>
              </a:ext>
            </a:extLst>
          </p:cNvPr>
          <p:cNvSpPr txBox="1"/>
          <p:nvPr/>
        </p:nvSpPr>
        <p:spPr>
          <a:xfrm>
            <a:off x="8240345" y="1393855"/>
            <a:ext cx="3392901" cy="424732"/>
          </a:xfrm>
          <a:prstGeom prst="rect">
            <a:avLst/>
          </a:prstGeom>
          <a:solidFill>
            <a:schemeClr val="bg1"/>
          </a:solidFill>
          <a:ln w="57150">
            <a:solidFill>
              <a:srgbClr val="32DAC8"/>
            </a:solidFill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2400" b="1"/>
              <a:t>Always fas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354BD3-B2AE-9C57-5CB1-A8C522979F86}"/>
              </a:ext>
            </a:extLst>
          </p:cNvPr>
          <p:cNvSpPr txBox="1"/>
          <p:nvPr/>
        </p:nvSpPr>
        <p:spPr>
          <a:xfrm>
            <a:off x="4836751" y="1975624"/>
            <a:ext cx="2911390" cy="893578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2000" b="1"/>
              <a:t>100% availability</a:t>
            </a:r>
          </a:p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>
                <a:latin typeface="MetricHPE Light" panose="020B0303030202060203" pitchFamily="34" charset="77"/>
              </a:rPr>
              <a:t>Guaranteed as standard benefit¹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B14B1A-A99A-6AFC-B673-C29CE3974950}"/>
              </a:ext>
            </a:extLst>
          </p:cNvPr>
          <p:cNvSpPr txBox="1"/>
          <p:nvPr/>
        </p:nvSpPr>
        <p:spPr>
          <a:xfrm>
            <a:off x="4836751" y="2785297"/>
            <a:ext cx="2911390" cy="64427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2000" b="1"/>
              <a:t>Most advanced DR and HA</a:t>
            </a:r>
          </a:p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>
                <a:latin typeface="MetricHPE Light" panose="020B0303030202060203" pitchFamily="34" charset="77"/>
              </a:rPr>
              <a:t>Active stretch cluste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71D3993-7F26-AA86-C537-4DDD0A25B7D3}"/>
              </a:ext>
            </a:extLst>
          </p:cNvPr>
          <p:cNvSpPr txBox="1"/>
          <p:nvPr/>
        </p:nvSpPr>
        <p:spPr>
          <a:xfrm>
            <a:off x="8481100" y="1975624"/>
            <a:ext cx="2911390" cy="64427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2000" b="1"/>
              <a:t>Massive parallelization</a:t>
            </a:r>
          </a:p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>
                <a:latin typeface="MetricHPE Light" panose="020B0303030202060203" pitchFamily="34" charset="77"/>
              </a:rPr>
              <a:t>All-active and multi-nod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47F889A-4987-A303-1D81-F1DD9BE4E59D}"/>
              </a:ext>
            </a:extLst>
          </p:cNvPr>
          <p:cNvSpPr txBox="1"/>
          <p:nvPr/>
        </p:nvSpPr>
        <p:spPr>
          <a:xfrm>
            <a:off x="8481100" y="2785297"/>
            <a:ext cx="2911390" cy="64427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2000" b="1"/>
              <a:t>High performance density</a:t>
            </a:r>
          </a:p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>
                <a:latin typeface="MetricHPE Light" panose="020B0303030202060203" pitchFamily="34" charset="0"/>
              </a:rPr>
              <a:t>Ideal for mixed workloa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BEBEFCD-6C41-E1B8-2AE3-C3FD2BC66B14}"/>
              </a:ext>
            </a:extLst>
          </p:cNvPr>
          <p:cNvSpPr txBox="1"/>
          <p:nvPr/>
        </p:nvSpPr>
        <p:spPr>
          <a:xfrm>
            <a:off x="4743984" y="3842599"/>
            <a:ext cx="6889261" cy="36933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2000" b="1"/>
              <a:t>AI-driven     </a:t>
            </a:r>
            <a:r>
              <a:rPr lang="en-US">
                <a:latin typeface="MetricHPE Light" panose="020B0303030202060203" pitchFamily="34" charset="77"/>
              </a:rPr>
              <a:t>Built with industry’s most advanced AI for infrastructure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F944E386-C767-8A53-0E67-B4B3F3590AF3}"/>
              </a:ext>
            </a:extLst>
          </p:cNvPr>
          <p:cNvSpPr/>
          <p:nvPr/>
        </p:nvSpPr>
        <p:spPr bwMode="ltGray">
          <a:xfrm>
            <a:off x="4611757" y="3776758"/>
            <a:ext cx="7010400" cy="0"/>
          </a:xfrm>
          <a:custGeom>
            <a:avLst/>
            <a:gdLst>
              <a:gd name="connsiteX0" fmla="*/ 0 w 7010400"/>
              <a:gd name="connsiteY0" fmla="*/ 0 h 0"/>
              <a:gd name="connsiteX1" fmla="*/ 7010400 w 70104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010400">
                <a:moveTo>
                  <a:pt x="0" y="0"/>
                </a:moveTo>
                <a:lnTo>
                  <a:pt x="7010400" y="0"/>
                </a:lnTo>
              </a:path>
            </a:pathLst>
          </a:cu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F4FF056-81CD-9F47-ED5F-AD92ACF5B760}"/>
              </a:ext>
            </a:extLst>
          </p:cNvPr>
          <p:cNvSpPr txBox="1"/>
          <p:nvPr/>
        </p:nvSpPr>
        <p:spPr>
          <a:xfrm>
            <a:off x="375823" y="2300525"/>
            <a:ext cx="5096190" cy="47897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>
              <a:lnSpc>
                <a:spcPct val="90000"/>
              </a:lnSpc>
              <a:buFont typeface="MetricHPE" panose="020B0503030202060203" pitchFamily="34" charset="0"/>
              <a:buNone/>
            </a:pPr>
            <a:r>
              <a:rPr lang="en-US" sz="2800">
                <a:latin typeface="MetricHPE Light" panose="020B0303030202060203" pitchFamily="34" charset="77"/>
              </a:rPr>
              <a:t>HPE GreenLake for</a:t>
            </a:r>
            <a:br>
              <a:rPr lang="en-US" sz="3600" b="1"/>
            </a:br>
            <a:r>
              <a:rPr lang="en-US" sz="4400" b="1"/>
              <a:t>Block Storage</a:t>
            </a:r>
          </a:p>
        </p:txBody>
      </p:sp>
      <p:pic>
        <p:nvPicPr>
          <p:cNvPr id="4" name="Picture 3" descr="A picture containing text, green, computer&#10;&#10;Description automatically generated">
            <a:extLst>
              <a:ext uri="{FF2B5EF4-FFF2-40B4-BE49-F238E27FC236}">
                <a16:creationId xmlns:a16="http://schemas.microsoft.com/office/drawing/2014/main" id="{DD694718-D4A9-B378-AD78-11B3E17253A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09" y="3319661"/>
            <a:ext cx="4554883" cy="1197561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E40C8710-3BA2-4E09-385B-89C69B8120F6}"/>
              </a:ext>
            </a:extLst>
          </p:cNvPr>
          <p:cNvSpPr/>
          <p:nvPr/>
        </p:nvSpPr>
        <p:spPr bwMode="ltGray">
          <a:xfrm>
            <a:off x="4743984" y="4650858"/>
            <a:ext cx="6925894" cy="1280264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pic>
        <p:nvPicPr>
          <p:cNvPr id="33" name="Grafika 45">
            <a:extLst>
              <a:ext uri="{FF2B5EF4-FFF2-40B4-BE49-F238E27FC236}">
                <a16:creationId xmlns:a16="http://schemas.microsoft.com/office/drawing/2014/main" id="{532CF156-324A-D833-1B8B-F7E04EF5DB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24800" y="5135239"/>
            <a:ext cx="306512" cy="448228"/>
          </a:xfrm>
          <a:prstGeom prst="rect">
            <a:avLst/>
          </a:prstGeom>
        </p:spPr>
      </p:pic>
      <p:pic>
        <p:nvPicPr>
          <p:cNvPr id="34" name="Grafika 46">
            <a:extLst>
              <a:ext uri="{FF2B5EF4-FFF2-40B4-BE49-F238E27FC236}">
                <a16:creationId xmlns:a16="http://schemas.microsoft.com/office/drawing/2014/main" id="{A3933E86-4C3A-6C59-2FCD-EA1807DE8B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32963" y="5141313"/>
            <a:ext cx="306512" cy="448228"/>
          </a:xfrm>
          <a:prstGeom prst="rect">
            <a:avLst/>
          </a:prstGeom>
        </p:spPr>
      </p:pic>
      <p:pic>
        <p:nvPicPr>
          <p:cNvPr id="35" name="Grafika 52">
            <a:extLst>
              <a:ext uri="{FF2B5EF4-FFF2-40B4-BE49-F238E27FC236}">
                <a16:creationId xmlns:a16="http://schemas.microsoft.com/office/drawing/2014/main" id="{AE05FCD0-DE74-DEA8-0BEB-178943102C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09066" y="5069892"/>
            <a:ext cx="434929" cy="508814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D9834603-F747-0C29-2748-D832AD9C503C}"/>
              </a:ext>
            </a:extLst>
          </p:cNvPr>
          <p:cNvGrpSpPr/>
          <p:nvPr/>
        </p:nvGrpSpPr>
        <p:grpSpPr>
          <a:xfrm>
            <a:off x="8483097" y="4825697"/>
            <a:ext cx="1423426" cy="874009"/>
            <a:chOff x="8398133" y="5002988"/>
            <a:chExt cx="1423426" cy="747095"/>
          </a:xfrm>
        </p:grpSpPr>
        <p:pic>
          <p:nvPicPr>
            <p:cNvPr id="37" name="Grafika 46">
              <a:extLst>
                <a:ext uri="{FF2B5EF4-FFF2-40B4-BE49-F238E27FC236}">
                  <a16:creationId xmlns:a16="http://schemas.microsoft.com/office/drawing/2014/main" id="{FF959B78-9919-571E-7D8E-5D730D50C1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98133" y="5067772"/>
              <a:ext cx="246982" cy="308728"/>
            </a:xfrm>
            <a:prstGeom prst="rect">
              <a:avLst/>
            </a:prstGeom>
          </p:spPr>
        </p:pic>
        <p:pic>
          <p:nvPicPr>
            <p:cNvPr id="39" name="Grafika 46">
              <a:extLst>
                <a:ext uri="{FF2B5EF4-FFF2-40B4-BE49-F238E27FC236}">
                  <a16:creationId xmlns:a16="http://schemas.microsoft.com/office/drawing/2014/main" id="{6FDB3C16-E939-2E9C-119A-460F4939D8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398133" y="5441355"/>
              <a:ext cx="246982" cy="308728"/>
            </a:xfrm>
            <a:prstGeom prst="rect">
              <a:avLst/>
            </a:prstGeom>
          </p:spPr>
        </p:pic>
        <p:pic>
          <p:nvPicPr>
            <p:cNvPr id="43" name="Grafika 56">
              <a:extLst>
                <a:ext uri="{FF2B5EF4-FFF2-40B4-BE49-F238E27FC236}">
                  <a16:creationId xmlns:a16="http://schemas.microsoft.com/office/drawing/2014/main" id="{F31E0251-A75F-137B-A410-12D48EC047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044642" y="5002988"/>
              <a:ext cx="346043" cy="346043"/>
            </a:xfrm>
            <a:prstGeom prst="rect">
              <a:avLst/>
            </a:prstGeom>
          </p:spPr>
        </p:pic>
        <p:pic>
          <p:nvPicPr>
            <p:cNvPr id="44" name="Grafika 56">
              <a:extLst>
                <a:ext uri="{FF2B5EF4-FFF2-40B4-BE49-F238E27FC236}">
                  <a16:creationId xmlns:a16="http://schemas.microsoft.com/office/drawing/2014/main" id="{C8F851A8-C4DB-905F-E359-E55F15CFB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044642" y="5391401"/>
              <a:ext cx="346043" cy="346043"/>
            </a:xfrm>
            <a:prstGeom prst="rect">
              <a:avLst/>
            </a:prstGeom>
          </p:spPr>
        </p:pic>
        <p:pic>
          <p:nvPicPr>
            <p:cNvPr id="45" name="Grafika 56">
              <a:extLst>
                <a:ext uri="{FF2B5EF4-FFF2-40B4-BE49-F238E27FC236}">
                  <a16:creationId xmlns:a16="http://schemas.microsoft.com/office/drawing/2014/main" id="{407BA78D-A2AA-8B6D-5DCC-93CB66BEF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475516" y="5002988"/>
              <a:ext cx="346043" cy="346043"/>
            </a:xfrm>
            <a:prstGeom prst="rect">
              <a:avLst/>
            </a:prstGeom>
          </p:spPr>
        </p:pic>
        <p:pic>
          <p:nvPicPr>
            <p:cNvPr id="46" name="Grafika 56">
              <a:extLst>
                <a:ext uri="{FF2B5EF4-FFF2-40B4-BE49-F238E27FC236}">
                  <a16:creationId xmlns:a16="http://schemas.microsoft.com/office/drawing/2014/main" id="{6555EF5B-44E8-C087-7B18-AA12F008A1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475516" y="5391401"/>
              <a:ext cx="346043" cy="346043"/>
            </a:xfrm>
            <a:prstGeom prst="rect">
              <a:avLst/>
            </a:prstGeom>
          </p:spPr>
        </p:pic>
        <p:pic>
          <p:nvPicPr>
            <p:cNvPr id="49" name="Grafika 46">
              <a:extLst>
                <a:ext uri="{FF2B5EF4-FFF2-40B4-BE49-F238E27FC236}">
                  <a16:creationId xmlns:a16="http://schemas.microsoft.com/office/drawing/2014/main" id="{F0F1E66E-C79E-933A-CBFF-7947A4AB22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12829" y="5067772"/>
              <a:ext cx="246982" cy="308728"/>
            </a:xfrm>
            <a:prstGeom prst="rect">
              <a:avLst/>
            </a:prstGeom>
          </p:spPr>
        </p:pic>
        <p:pic>
          <p:nvPicPr>
            <p:cNvPr id="50" name="Grafika 46">
              <a:extLst>
                <a:ext uri="{FF2B5EF4-FFF2-40B4-BE49-F238E27FC236}">
                  <a16:creationId xmlns:a16="http://schemas.microsoft.com/office/drawing/2014/main" id="{DCDD05B5-2C41-D6A8-C500-F63355192D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712829" y="5441355"/>
              <a:ext cx="246982" cy="308728"/>
            </a:xfrm>
            <a:prstGeom prst="rect">
              <a:avLst/>
            </a:prstGeom>
          </p:spPr>
        </p:pic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25065B38-4510-E2F2-3330-BF97B4D2987A}"/>
              </a:ext>
            </a:extLst>
          </p:cNvPr>
          <p:cNvSpPr txBox="1"/>
          <p:nvPr/>
        </p:nvSpPr>
        <p:spPr>
          <a:xfrm>
            <a:off x="3044753" y="5114809"/>
            <a:ext cx="1558823" cy="39703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 algn="r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2200" b="1"/>
              <a:t>Ideal for:</a:t>
            </a:r>
            <a:endParaRPr lang="en-US" sz="2200">
              <a:latin typeface="MetricHPE Light" panose="020B0303030202060203" pitchFamily="34" charset="77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77C4246B-B168-0DF6-27BE-9C6BD7DAC914}"/>
              </a:ext>
            </a:extLst>
          </p:cNvPr>
          <p:cNvSpPr txBox="1"/>
          <p:nvPr/>
        </p:nvSpPr>
        <p:spPr>
          <a:xfrm>
            <a:off x="5789988" y="5026310"/>
            <a:ext cx="1151364" cy="5632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1700">
                <a:latin typeface="MetricHPE Light" panose="020B0303030202060203" pitchFamily="34" charset="77"/>
              </a:rPr>
              <a:t>Traditional app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587E6DD-3A2B-1BF7-4D74-87BCFF476F69}"/>
              </a:ext>
            </a:extLst>
          </p:cNvPr>
          <p:cNvSpPr txBox="1"/>
          <p:nvPr/>
        </p:nvSpPr>
        <p:spPr>
          <a:xfrm>
            <a:off x="7480791" y="5026310"/>
            <a:ext cx="1151364" cy="5632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1700">
                <a:latin typeface="MetricHPE Light" panose="020B0303030202060203" pitchFamily="34" charset="77"/>
              </a:rPr>
              <a:t>Modern app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EE36C67-9C28-3DE5-CB68-46EEB88A594B}"/>
              </a:ext>
            </a:extLst>
          </p:cNvPr>
          <p:cNvSpPr txBox="1"/>
          <p:nvPr/>
        </p:nvSpPr>
        <p:spPr>
          <a:xfrm>
            <a:off x="9973100" y="5026310"/>
            <a:ext cx="1555829" cy="5632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200"/>
              </a:spcBef>
              <a:buFont typeface="MetricHPE" panose="020B0503030202060203" pitchFamily="34" charset="0"/>
              <a:buNone/>
            </a:pPr>
            <a:r>
              <a:rPr lang="en-US" sz="1700">
                <a:latin typeface="MetricHPE Light" panose="020B0303030202060203" pitchFamily="34" charset="77"/>
              </a:rPr>
              <a:t>Consolidated mixed workload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49D34B9-CEF8-CB7D-2335-DBC36B31F26F}"/>
              </a:ext>
            </a:extLst>
          </p:cNvPr>
          <p:cNvSpPr txBox="1"/>
          <p:nvPr/>
        </p:nvSpPr>
        <p:spPr>
          <a:xfrm>
            <a:off x="1652141" y="6293920"/>
            <a:ext cx="6096000" cy="23083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182880" marR="0" lvl="0" indent="-182880" algn="l" defTabSz="914400" rtl="0" eaLnBrk="1" fontAlgn="auto" latinLnBrk="0" hangingPunct="1">
              <a:lnSpc>
                <a:spcPct val="90000"/>
              </a:lnSpc>
              <a:spcAft>
                <a:spcPts val="0"/>
              </a:spcAft>
              <a:buClrTx/>
              <a:buSzTx/>
              <a:buFontTx/>
              <a:buAutoNum type="arabicPlain"/>
              <a:tabLst/>
              <a:defRPr/>
            </a:pPr>
            <a:r>
              <a:rPr kumimoji="0" lang="en-GB" sz="1000" u="none" strike="noStrike" kern="1200" cap="none" spc="0" normalizeH="0" noProof="0">
                <a:ln>
                  <a:noFill/>
                </a:ln>
                <a:effectLst/>
                <a:uLnTx/>
                <a:uFillTx/>
                <a:latin typeface="MetricHPE Light" panose="020B0303030202060203" pitchFamily="34" charset="77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PE Storage Substantiation</a:t>
            </a:r>
            <a:endParaRPr lang="en-GB" sz="1000">
              <a:latin typeface="MetricHPE Light" panose="020B0303030202060203" pitchFamily="34" charset="77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B62C3707-1579-DDE2-0F9F-8B0C077DBD3D}"/>
              </a:ext>
            </a:extLst>
          </p:cNvPr>
          <p:cNvPicPr>
            <a:picLocks noChangeAspect="1" noChangeArrowheads="1"/>
          </p:cNvPicPr>
          <p:nvPr/>
        </p:nvPicPr>
        <p:blipFill>
          <a:blip r:link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6746" y="6331563"/>
            <a:ext cx="3116263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884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Rectangle 91">
            <a:extLst>
              <a:ext uri="{FF2B5EF4-FFF2-40B4-BE49-F238E27FC236}">
                <a16:creationId xmlns:a16="http://schemas.microsoft.com/office/drawing/2014/main" id="{505660CC-048D-4BD5-B135-CD22818F4734}"/>
              </a:ext>
            </a:extLst>
          </p:cNvPr>
          <p:cNvSpPr/>
          <p:nvPr/>
        </p:nvSpPr>
        <p:spPr>
          <a:xfrm>
            <a:off x="1009936" y="5103301"/>
            <a:ext cx="12192000" cy="10846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034" y="277319"/>
            <a:ext cx="11430000" cy="401362"/>
          </a:xfrm>
        </p:spPr>
        <p:txBody>
          <a:bodyPr/>
          <a:lstStyle/>
          <a:p>
            <a:pPr rtl="0"/>
            <a:r>
              <a:rPr lang="fr-FR" dirty="0"/>
              <a:t>Solutions de Back-up: HPE et Veeam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1619377" y="5253279"/>
            <a:ext cx="2039367" cy="914400"/>
          </a:xfrm>
          <a:prstGeom prst="rect">
            <a:avLst/>
          </a:prstGeom>
        </p:spPr>
        <p:txBody>
          <a:bodyPr wrap="square" lIns="91440" tIns="91440" rIns="91440" bIns="0" rtlCol="0" anchor="t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MetricHPE" charset="0"/>
                <a:cs typeface="MetricHPE" charset="0"/>
              </a:rPr>
              <a:t>Intégration des Snapshots pour disponibilité maximale et des reprises instantanées (</a:t>
            </a:r>
            <a:r>
              <a:rPr kumimoji="0" lang="fr-FR" sz="13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MetricHPE" charset="0"/>
                <a:cs typeface="MetricHPE" charset="0"/>
              </a:rPr>
              <a:t>near-zero</a:t>
            </a: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MetricHPE" charset="0"/>
                <a:cs typeface="MetricHPE" charset="0"/>
              </a:rPr>
              <a:t> RTO)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3852936" y="5253279"/>
            <a:ext cx="2039207" cy="914400"/>
          </a:xfrm>
          <a:prstGeom prst="rect">
            <a:avLst/>
          </a:prstGeom>
        </p:spPr>
        <p:txBody>
          <a:bodyPr wrap="square" lIns="91440" tIns="91440" rIns="91440" bIns="0" rtlCol="0" anchor="t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MetricHPE" charset="0"/>
                <a:cs typeface="MetricHPE" charset="0"/>
              </a:rPr>
              <a:t>Sauvegardes efficaces et économiques pour la rétention et les restaurations sur site &amp; PRA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6084822" y="5253279"/>
            <a:ext cx="2040720" cy="914400"/>
          </a:xfrm>
          <a:prstGeom prst="rect">
            <a:avLst/>
          </a:prstGeom>
        </p:spPr>
        <p:txBody>
          <a:bodyPr wrap="square" lIns="91440" tIns="91440" rIns="91440" bIns="0" rtlCol="0" anchor="t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MetricHPE" charset="0"/>
                <a:cs typeface="MetricHPE" charset="0"/>
              </a:rPr>
              <a:t>Archivage de sauvegarde hors site ou hébergé pour la conformité, l'audit et la reprise après sinistre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8318222" y="5253279"/>
            <a:ext cx="2040717" cy="914400"/>
          </a:xfrm>
          <a:prstGeom prst="rect">
            <a:avLst/>
          </a:prstGeom>
        </p:spPr>
        <p:txBody>
          <a:bodyPr wrap="square" lIns="91440" tIns="91440" rIns="91440" bIns="0" rtlCol="0" anchor="t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MetricHPE" charset="0"/>
                <a:cs typeface="MetricHPE" charset="0"/>
              </a:rPr>
              <a:t>Des réplicas de VM pour une restauration la plus rapide lors des pannes majeures</a:t>
            </a:r>
          </a:p>
        </p:txBody>
      </p:sp>
      <p:sp>
        <p:nvSpPr>
          <p:cNvPr id="93" name="Rectangle 92"/>
          <p:cNvSpPr/>
          <p:nvPr/>
        </p:nvSpPr>
        <p:spPr bwMode="auto">
          <a:xfrm>
            <a:off x="1619535" y="1650822"/>
            <a:ext cx="2039208" cy="3556356"/>
          </a:xfrm>
          <a:prstGeom prst="rect">
            <a:avLst/>
          </a:prstGeom>
          <a:solidFill>
            <a:schemeClr val="bg1">
              <a:alpha val="68000"/>
            </a:schemeClr>
          </a:solidFill>
          <a:ln w="57150">
            <a:solidFill>
              <a:srgbClr val="0D5265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0292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Intégration de snapshot</a:t>
            </a:r>
          </a:p>
        </p:txBody>
      </p:sp>
      <p:sp>
        <p:nvSpPr>
          <p:cNvPr id="94" name="Rounded Rectangle 2">
            <a:extLst>
              <a:ext uri="{FF2B5EF4-FFF2-40B4-BE49-F238E27FC236}">
                <a16:creationId xmlns:a16="http://schemas.microsoft.com/office/drawing/2014/main" id="{73B8B2FE-E41B-41DB-A181-DF7EEADE81CB}"/>
              </a:ext>
            </a:extLst>
          </p:cNvPr>
          <p:cNvSpPr/>
          <p:nvPr/>
        </p:nvSpPr>
        <p:spPr bwMode="auto">
          <a:xfrm>
            <a:off x="3852934" y="1650822"/>
            <a:ext cx="2039208" cy="3556356"/>
          </a:xfrm>
          <a:prstGeom prst="rect">
            <a:avLst/>
          </a:prstGeom>
          <a:solidFill>
            <a:schemeClr val="bg1">
              <a:alpha val="68000"/>
            </a:schemeClr>
          </a:solidFill>
          <a:ln w="57150">
            <a:solidFill>
              <a:srgbClr val="7630EA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0292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auvegardes</a:t>
            </a:r>
          </a:p>
        </p:txBody>
      </p:sp>
      <p:sp>
        <p:nvSpPr>
          <p:cNvPr id="95" name="Rounded Rectangle 2">
            <a:extLst>
              <a:ext uri="{FF2B5EF4-FFF2-40B4-BE49-F238E27FC236}">
                <a16:creationId xmlns:a16="http://schemas.microsoft.com/office/drawing/2014/main" id="{B60B67A4-9E25-451F-9775-A5A0A05C9F88}"/>
              </a:ext>
            </a:extLst>
          </p:cNvPr>
          <p:cNvSpPr/>
          <p:nvPr/>
        </p:nvSpPr>
        <p:spPr bwMode="auto">
          <a:xfrm>
            <a:off x="8329633" y="1659408"/>
            <a:ext cx="2039208" cy="3556356"/>
          </a:xfrm>
          <a:prstGeom prst="rect">
            <a:avLst/>
          </a:prstGeom>
          <a:solidFill>
            <a:schemeClr val="bg1">
              <a:alpha val="68000"/>
            </a:schemeClr>
          </a:solidFill>
          <a:ln w="57150">
            <a:solidFill>
              <a:srgbClr val="C140FF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0292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Répliques de VM</a:t>
            </a:r>
          </a:p>
        </p:txBody>
      </p:sp>
      <p:pic>
        <p:nvPicPr>
          <p:cNvPr id="104" name="Picture 4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092" b="-1"/>
          <a:stretch/>
        </p:blipFill>
        <p:spPr bwMode="auto">
          <a:xfrm>
            <a:off x="1894179" y="3386879"/>
            <a:ext cx="1489920" cy="560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8" name="TextBox 117"/>
          <p:cNvSpPr txBox="1"/>
          <p:nvPr/>
        </p:nvSpPr>
        <p:spPr>
          <a:xfrm>
            <a:off x="1820615" y="4744476"/>
            <a:ext cx="1623799" cy="430887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tockage HPE Nimble </a:t>
            </a:r>
          </a:p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Toutes les séries Flash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1880145" y="3914587"/>
            <a:ext cx="1590665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3PAR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4072113" y="3924416"/>
            <a:ext cx="1616148" cy="600164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Gamme de flashes adaptatifs HPE Nimble Storage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4130795" y="2950689"/>
            <a:ext cx="1483485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StoreOnce</a:t>
            </a:r>
          </a:p>
        </p:txBody>
      </p:sp>
      <p:pic>
        <p:nvPicPr>
          <p:cNvPr id="1026" name="Picture 2" descr="HPE Nimble Storage Secondary Flash Arrays Center facin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47997" y="4198747"/>
            <a:ext cx="1580459" cy="590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 descr="HPE Nimble Storage Secondary Flash Arrays Center facin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14119" y="3399047"/>
            <a:ext cx="1580459" cy="590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0998" y="1808823"/>
            <a:ext cx="1138858" cy="337102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737" y="1808823"/>
            <a:ext cx="1138858" cy="337102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3225" y="1808823"/>
            <a:ext cx="1138858" cy="33710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60459" y="2683381"/>
            <a:ext cx="1600200" cy="272279"/>
          </a:xfrm>
          <a:prstGeom prst="rect">
            <a:avLst/>
          </a:prstGeom>
        </p:spPr>
      </p:pic>
      <p:sp>
        <p:nvSpPr>
          <p:cNvPr id="128" name="TextBox 127"/>
          <p:cNvSpPr txBox="1"/>
          <p:nvPr/>
        </p:nvSpPr>
        <p:spPr>
          <a:xfrm>
            <a:off x="8603203" y="2997962"/>
            <a:ext cx="1483485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erveurs HP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ECB18CD-967E-4DB5-9CDE-63F5943FA624}"/>
              </a:ext>
            </a:extLst>
          </p:cNvPr>
          <p:cNvSpPr txBox="1"/>
          <p:nvPr/>
        </p:nvSpPr>
        <p:spPr>
          <a:xfrm>
            <a:off x="4141990" y="4843591"/>
            <a:ext cx="1483485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Apollo</a:t>
            </a:r>
          </a:p>
        </p:txBody>
      </p:sp>
      <p:pic>
        <p:nvPicPr>
          <p:cNvPr id="44" name="Picture 28" descr="A close up of a device  Description generated with high confidence">
            <a:extLst>
              <a:ext uri="{FF2B5EF4-FFF2-40B4-BE49-F238E27FC236}">
                <a16:creationId xmlns:a16="http://schemas.microsoft.com/office/drawing/2014/main" id="{2308EDFC-C1ED-4808-ADCD-BF9A6783C4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7611" r="92600">
                        <a14:foregroundMark x1="92812" y1="33333" x2="92812" y2="33333"/>
                        <a14:foregroundMark x1="7822" y1="37333" x2="7822" y2="37333"/>
                        <a14:foregroundMark x1="11416" y1="2667" x2="11416" y2="2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6411" y="4576935"/>
            <a:ext cx="1643245" cy="272279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AE215ED7-BB34-4656-B012-3DDD4FC0DC4B}"/>
              </a:ext>
            </a:extLst>
          </p:cNvPr>
          <p:cNvSpPr txBox="1"/>
          <p:nvPr/>
        </p:nvSpPr>
        <p:spPr>
          <a:xfrm>
            <a:off x="8657615" y="4037068"/>
            <a:ext cx="1483485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Apollo</a:t>
            </a:r>
          </a:p>
        </p:txBody>
      </p:sp>
      <p:pic>
        <p:nvPicPr>
          <p:cNvPr id="53" name="Picture 28" descr="A close up of a device  Description generated with high confidence">
            <a:extLst>
              <a:ext uri="{FF2B5EF4-FFF2-40B4-BE49-F238E27FC236}">
                <a16:creationId xmlns:a16="http://schemas.microsoft.com/office/drawing/2014/main" id="{2308EDFC-C1ED-4808-ADCD-BF9A6783C46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7611" r="92600">
                        <a14:foregroundMark x1="92812" y1="33333" x2="92812" y2="33333"/>
                        <a14:foregroundMark x1="7822" y1="37333" x2="7822" y2="37333"/>
                        <a14:foregroundMark x1="11416" y1="2667" x2="11416" y2="2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9525" y="3701420"/>
            <a:ext cx="1643245" cy="272279"/>
          </a:xfrm>
          <a:prstGeom prst="rect">
            <a:avLst/>
          </a:prstGeom>
        </p:spPr>
      </p:pic>
      <p:sp>
        <p:nvSpPr>
          <p:cNvPr id="96" name="Rounded Rectangle 2">
            <a:extLst>
              <a:ext uri="{FF2B5EF4-FFF2-40B4-BE49-F238E27FC236}">
                <a16:creationId xmlns:a16="http://schemas.microsoft.com/office/drawing/2014/main" id="{73B8B2FE-E41B-41DB-A181-DF7EEADE81CB}"/>
              </a:ext>
            </a:extLst>
          </p:cNvPr>
          <p:cNvSpPr/>
          <p:nvPr/>
        </p:nvSpPr>
        <p:spPr bwMode="auto">
          <a:xfrm>
            <a:off x="6097834" y="1668076"/>
            <a:ext cx="2039208" cy="3556356"/>
          </a:xfrm>
          <a:prstGeom prst="rect">
            <a:avLst/>
          </a:prstGeom>
          <a:solidFill>
            <a:schemeClr val="bg1">
              <a:alpha val="68000"/>
            </a:schemeClr>
          </a:solidFill>
          <a:ln w="57150">
            <a:solidFill>
              <a:srgbClr val="32DAC8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502920" rIns="9144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Copies des sauvegardes</a:t>
            </a:r>
          </a:p>
        </p:txBody>
      </p:sp>
      <p:pic>
        <p:nvPicPr>
          <p:cNvPr id="48" name="Picture 4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486" y="1808823"/>
            <a:ext cx="1138858" cy="337102"/>
          </a:xfrm>
          <a:prstGeom prst="rect">
            <a:avLst/>
          </a:prstGeom>
        </p:spPr>
      </p:pic>
      <p:sp>
        <p:nvSpPr>
          <p:cNvPr id="125" name="TextBox 124"/>
          <p:cNvSpPr txBox="1"/>
          <p:nvPr/>
        </p:nvSpPr>
        <p:spPr>
          <a:xfrm>
            <a:off x="6392242" y="2971433"/>
            <a:ext cx="1483487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StoreOnce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31856" y="2655259"/>
            <a:ext cx="3938357" cy="323116"/>
          </a:xfrm>
          <a:prstGeom prst="rect">
            <a:avLst/>
          </a:prstGeom>
        </p:spPr>
      </p:pic>
      <p:sp>
        <p:nvSpPr>
          <p:cNvPr id="109" name="Freeform 66"/>
          <p:cNvSpPr>
            <a:spLocks noEditPoints="1"/>
          </p:cNvSpPr>
          <p:nvPr/>
        </p:nvSpPr>
        <p:spPr bwMode="auto">
          <a:xfrm>
            <a:off x="6513771" y="4474259"/>
            <a:ext cx="559849" cy="457571"/>
          </a:xfrm>
          <a:custGeom>
            <a:avLst/>
            <a:gdLst>
              <a:gd name="T0" fmla="*/ 1631 w 1961"/>
              <a:gd name="T1" fmla="*/ 333 h 1471"/>
              <a:gd name="T2" fmla="*/ 1253 w 1961"/>
              <a:gd name="T3" fmla="*/ 0 h 1471"/>
              <a:gd name="T4" fmla="*/ 953 w 1961"/>
              <a:gd name="T5" fmla="*/ 0 h 1471"/>
              <a:gd name="T6" fmla="*/ 576 w 1961"/>
              <a:gd name="T7" fmla="*/ 327 h 1471"/>
              <a:gd name="T8" fmla="*/ 408 w 1961"/>
              <a:gd name="T9" fmla="*/ 327 h 1471"/>
              <a:gd name="T10" fmla="*/ 0 w 1961"/>
              <a:gd name="T11" fmla="*/ 735 h 1471"/>
              <a:gd name="T12" fmla="*/ 357 w 1961"/>
              <a:gd name="T13" fmla="*/ 1141 h 1471"/>
              <a:gd name="T14" fmla="*/ 735 w 1961"/>
              <a:gd name="T15" fmla="*/ 1471 h 1471"/>
              <a:gd name="T16" fmla="*/ 1035 w 1961"/>
              <a:gd name="T17" fmla="*/ 1471 h 1471"/>
              <a:gd name="T18" fmla="*/ 1412 w 1961"/>
              <a:gd name="T19" fmla="*/ 1144 h 1471"/>
              <a:gd name="T20" fmla="*/ 1552 w 1961"/>
              <a:gd name="T21" fmla="*/ 1144 h 1471"/>
              <a:gd name="T22" fmla="*/ 1961 w 1961"/>
              <a:gd name="T23" fmla="*/ 735 h 1471"/>
              <a:gd name="T24" fmla="*/ 1631 w 1961"/>
              <a:gd name="T25" fmla="*/ 333 h 1471"/>
              <a:gd name="T26" fmla="*/ 1552 w 1961"/>
              <a:gd name="T27" fmla="*/ 1035 h 1471"/>
              <a:gd name="T28" fmla="*/ 926 w 1961"/>
              <a:gd name="T29" fmla="*/ 1035 h 1471"/>
              <a:gd name="T30" fmla="*/ 926 w 1961"/>
              <a:gd name="T31" fmla="*/ 1144 h 1471"/>
              <a:gd name="T32" fmla="*/ 1302 w 1961"/>
              <a:gd name="T33" fmla="*/ 1144 h 1471"/>
              <a:gd name="T34" fmla="*/ 1035 w 1961"/>
              <a:gd name="T35" fmla="*/ 1362 h 1471"/>
              <a:gd name="T36" fmla="*/ 735 w 1961"/>
              <a:gd name="T37" fmla="*/ 1362 h 1471"/>
              <a:gd name="T38" fmla="*/ 463 w 1961"/>
              <a:gd name="T39" fmla="*/ 1089 h 1471"/>
              <a:gd name="T40" fmla="*/ 463 w 1961"/>
              <a:gd name="T41" fmla="*/ 1035 h 1471"/>
              <a:gd name="T42" fmla="*/ 408 w 1961"/>
              <a:gd name="T43" fmla="*/ 1035 h 1471"/>
              <a:gd name="T44" fmla="*/ 109 w 1961"/>
              <a:gd name="T45" fmla="*/ 735 h 1471"/>
              <a:gd name="T46" fmla="*/ 408 w 1961"/>
              <a:gd name="T47" fmla="*/ 436 h 1471"/>
              <a:gd name="T48" fmla="*/ 1035 w 1961"/>
              <a:gd name="T49" fmla="*/ 436 h 1471"/>
              <a:gd name="T50" fmla="*/ 1035 w 1961"/>
              <a:gd name="T51" fmla="*/ 327 h 1471"/>
              <a:gd name="T52" fmla="*/ 686 w 1961"/>
              <a:gd name="T53" fmla="*/ 327 h 1471"/>
              <a:gd name="T54" fmla="*/ 953 w 1961"/>
              <a:gd name="T55" fmla="*/ 109 h 1471"/>
              <a:gd name="T56" fmla="*/ 1253 w 1961"/>
              <a:gd name="T57" fmla="*/ 109 h 1471"/>
              <a:gd name="T58" fmla="*/ 1525 w 1961"/>
              <a:gd name="T59" fmla="*/ 381 h 1471"/>
              <a:gd name="T60" fmla="*/ 1525 w 1961"/>
              <a:gd name="T61" fmla="*/ 432 h 1471"/>
              <a:gd name="T62" fmla="*/ 1575 w 1961"/>
              <a:gd name="T63" fmla="*/ 436 h 1471"/>
              <a:gd name="T64" fmla="*/ 1852 w 1961"/>
              <a:gd name="T65" fmla="*/ 735 h 1471"/>
              <a:gd name="T66" fmla="*/ 1552 w 1961"/>
              <a:gd name="T67" fmla="*/ 1035 h 1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961" h="1471">
                <a:moveTo>
                  <a:pt x="1631" y="333"/>
                </a:moveTo>
                <a:cubicBezTo>
                  <a:pt x="1607" y="146"/>
                  <a:pt x="1447" y="0"/>
                  <a:pt x="1253" y="0"/>
                </a:cubicBezTo>
                <a:cubicBezTo>
                  <a:pt x="953" y="0"/>
                  <a:pt x="953" y="0"/>
                  <a:pt x="953" y="0"/>
                </a:cubicBezTo>
                <a:cubicBezTo>
                  <a:pt x="761" y="0"/>
                  <a:pt x="603" y="142"/>
                  <a:pt x="576" y="327"/>
                </a:cubicBezTo>
                <a:cubicBezTo>
                  <a:pt x="408" y="327"/>
                  <a:pt x="408" y="327"/>
                  <a:pt x="408" y="327"/>
                </a:cubicBezTo>
                <a:cubicBezTo>
                  <a:pt x="183" y="327"/>
                  <a:pt x="0" y="510"/>
                  <a:pt x="0" y="735"/>
                </a:cubicBezTo>
                <a:cubicBezTo>
                  <a:pt x="0" y="943"/>
                  <a:pt x="156" y="1115"/>
                  <a:pt x="357" y="1141"/>
                </a:cubicBezTo>
                <a:cubicBezTo>
                  <a:pt x="383" y="1327"/>
                  <a:pt x="542" y="1471"/>
                  <a:pt x="735" y="1471"/>
                </a:cubicBezTo>
                <a:cubicBezTo>
                  <a:pt x="1035" y="1471"/>
                  <a:pt x="1035" y="1471"/>
                  <a:pt x="1035" y="1471"/>
                </a:cubicBezTo>
                <a:cubicBezTo>
                  <a:pt x="1226" y="1471"/>
                  <a:pt x="1385" y="1328"/>
                  <a:pt x="1412" y="1144"/>
                </a:cubicBezTo>
                <a:cubicBezTo>
                  <a:pt x="1552" y="1144"/>
                  <a:pt x="1552" y="1144"/>
                  <a:pt x="1552" y="1144"/>
                </a:cubicBezTo>
                <a:cubicBezTo>
                  <a:pt x="1777" y="1144"/>
                  <a:pt x="1961" y="961"/>
                  <a:pt x="1961" y="735"/>
                </a:cubicBezTo>
                <a:cubicBezTo>
                  <a:pt x="1961" y="539"/>
                  <a:pt x="1819" y="370"/>
                  <a:pt x="1631" y="333"/>
                </a:cubicBezTo>
                <a:close/>
                <a:moveTo>
                  <a:pt x="1552" y="1035"/>
                </a:moveTo>
                <a:cubicBezTo>
                  <a:pt x="926" y="1035"/>
                  <a:pt x="926" y="1035"/>
                  <a:pt x="926" y="1035"/>
                </a:cubicBezTo>
                <a:cubicBezTo>
                  <a:pt x="926" y="1144"/>
                  <a:pt x="926" y="1144"/>
                  <a:pt x="926" y="1144"/>
                </a:cubicBezTo>
                <a:cubicBezTo>
                  <a:pt x="1302" y="1144"/>
                  <a:pt x="1302" y="1144"/>
                  <a:pt x="1302" y="1144"/>
                </a:cubicBezTo>
                <a:cubicBezTo>
                  <a:pt x="1276" y="1268"/>
                  <a:pt x="1166" y="1362"/>
                  <a:pt x="1035" y="1362"/>
                </a:cubicBezTo>
                <a:cubicBezTo>
                  <a:pt x="735" y="1362"/>
                  <a:pt x="735" y="1362"/>
                  <a:pt x="735" y="1362"/>
                </a:cubicBezTo>
                <a:cubicBezTo>
                  <a:pt x="585" y="1362"/>
                  <a:pt x="463" y="1239"/>
                  <a:pt x="463" y="1089"/>
                </a:cubicBezTo>
                <a:cubicBezTo>
                  <a:pt x="463" y="1035"/>
                  <a:pt x="463" y="1035"/>
                  <a:pt x="463" y="1035"/>
                </a:cubicBezTo>
                <a:cubicBezTo>
                  <a:pt x="408" y="1035"/>
                  <a:pt x="408" y="1035"/>
                  <a:pt x="408" y="1035"/>
                </a:cubicBezTo>
                <a:cubicBezTo>
                  <a:pt x="243" y="1035"/>
                  <a:pt x="109" y="900"/>
                  <a:pt x="109" y="735"/>
                </a:cubicBezTo>
                <a:cubicBezTo>
                  <a:pt x="109" y="570"/>
                  <a:pt x="243" y="436"/>
                  <a:pt x="408" y="436"/>
                </a:cubicBezTo>
                <a:cubicBezTo>
                  <a:pt x="1035" y="436"/>
                  <a:pt x="1035" y="436"/>
                  <a:pt x="1035" y="436"/>
                </a:cubicBezTo>
                <a:cubicBezTo>
                  <a:pt x="1035" y="327"/>
                  <a:pt x="1035" y="327"/>
                  <a:pt x="1035" y="327"/>
                </a:cubicBezTo>
                <a:cubicBezTo>
                  <a:pt x="686" y="327"/>
                  <a:pt x="686" y="327"/>
                  <a:pt x="686" y="327"/>
                </a:cubicBezTo>
                <a:cubicBezTo>
                  <a:pt x="712" y="203"/>
                  <a:pt x="822" y="109"/>
                  <a:pt x="953" y="109"/>
                </a:cubicBezTo>
                <a:cubicBezTo>
                  <a:pt x="1253" y="109"/>
                  <a:pt x="1253" y="109"/>
                  <a:pt x="1253" y="109"/>
                </a:cubicBezTo>
                <a:cubicBezTo>
                  <a:pt x="1403" y="109"/>
                  <a:pt x="1525" y="231"/>
                  <a:pt x="1525" y="381"/>
                </a:cubicBezTo>
                <a:cubicBezTo>
                  <a:pt x="1525" y="432"/>
                  <a:pt x="1525" y="432"/>
                  <a:pt x="1525" y="432"/>
                </a:cubicBezTo>
                <a:cubicBezTo>
                  <a:pt x="1575" y="436"/>
                  <a:pt x="1575" y="436"/>
                  <a:pt x="1575" y="436"/>
                </a:cubicBezTo>
                <a:cubicBezTo>
                  <a:pt x="1730" y="447"/>
                  <a:pt x="1852" y="579"/>
                  <a:pt x="1852" y="735"/>
                </a:cubicBezTo>
                <a:cubicBezTo>
                  <a:pt x="1852" y="900"/>
                  <a:pt x="1717" y="1035"/>
                  <a:pt x="1552" y="103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6375695" y="4929143"/>
            <a:ext cx="1483485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ybrid Cloud 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6363438" y="4018157"/>
            <a:ext cx="1483487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StoreEver</a:t>
            </a: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78" b="12151"/>
          <a:stretch/>
        </p:blipFill>
        <p:spPr>
          <a:xfrm>
            <a:off x="1746055" y="2524237"/>
            <a:ext cx="1796723" cy="586597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1896554" y="3016824"/>
            <a:ext cx="1483485" cy="261610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Alletra /  Primera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160" b="25758"/>
          <a:stretch/>
        </p:blipFill>
        <p:spPr>
          <a:xfrm>
            <a:off x="6254795" y="3398381"/>
            <a:ext cx="1708032" cy="654376"/>
          </a:xfrm>
          <a:prstGeom prst="rect">
            <a:avLst/>
          </a:prstGeom>
        </p:spPr>
      </p:pic>
      <p:pic>
        <p:nvPicPr>
          <p:cNvPr id="15362" name="Picture 2" descr="Scality | LinkedIn">
            <a:extLst>
              <a:ext uri="{FF2B5EF4-FFF2-40B4-BE49-F238E27FC236}">
                <a16:creationId xmlns:a16="http://schemas.microsoft.com/office/drawing/2014/main" id="{85831362-A243-4B2D-AC24-1FEA1F3511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3269" y="4471907"/>
            <a:ext cx="437717" cy="437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0F89FF3-5795-4BAF-BBC6-6FB73F24BE54}"/>
              </a:ext>
            </a:extLst>
          </p:cNvPr>
          <p:cNvSpPr/>
          <p:nvPr/>
        </p:nvSpPr>
        <p:spPr>
          <a:xfrm>
            <a:off x="3729385" y="1040809"/>
            <a:ext cx="67515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Intégration technologique &amp; co-selling “attach” Veeam </a:t>
            </a:r>
          </a:p>
        </p:txBody>
      </p:sp>
    </p:spTree>
    <p:extLst>
      <p:ext uri="{BB962C8B-B14F-4D97-AF65-F5344CB8AC3E}">
        <p14:creationId xmlns:p14="http://schemas.microsoft.com/office/powerpoint/2010/main" val="41786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448366-576C-D0CD-BD70-0F8BED68A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Quelques exemples de solutions et architectures HP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F526B0E-2B2D-C532-B6D3-9330FE1EBE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prstClr val="black"/>
                </a:solidFill>
              </a:rPr>
              <a:pPr defTabSz="1088421"/>
              <a:t>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6F5020-828D-8E66-AAA1-7155DA7C1E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940387" y="7948931"/>
            <a:ext cx="2200555" cy="110404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 | Authorized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D18156A-65EE-9A9B-456C-F2A554419FCE}"/>
              </a:ext>
            </a:extLst>
          </p:cNvPr>
          <p:cNvGrpSpPr/>
          <p:nvPr/>
        </p:nvGrpSpPr>
        <p:grpSpPr>
          <a:xfrm>
            <a:off x="139374" y="995905"/>
            <a:ext cx="3888266" cy="2569277"/>
            <a:chOff x="6214185" y="846896"/>
            <a:chExt cx="5554056" cy="340788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42FD460-A4BF-317D-A565-9D73A0BE3479}"/>
                </a:ext>
              </a:extLst>
            </p:cNvPr>
            <p:cNvSpPr/>
            <p:nvPr/>
          </p:nvSpPr>
          <p:spPr bwMode="ltGray">
            <a:xfrm>
              <a:off x="6356142" y="1093569"/>
              <a:ext cx="5412099" cy="316121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B98610A-016A-1CF4-5927-100DA42B4597}"/>
                </a:ext>
              </a:extLst>
            </p:cNvPr>
            <p:cNvSpPr txBox="1"/>
            <p:nvPr/>
          </p:nvSpPr>
          <p:spPr>
            <a:xfrm>
              <a:off x="6214185" y="846896"/>
              <a:ext cx="5412098" cy="32729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</p:grp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B32F8AC0-B832-ED9F-CEE5-A45E230C36C9}"/>
              </a:ext>
            </a:extLst>
          </p:cNvPr>
          <p:cNvGrpSpPr/>
          <p:nvPr/>
        </p:nvGrpSpPr>
        <p:grpSpPr>
          <a:xfrm>
            <a:off x="4151866" y="1001026"/>
            <a:ext cx="3888267" cy="2556232"/>
            <a:chOff x="6214185" y="846896"/>
            <a:chExt cx="5554056" cy="3407883"/>
          </a:xfrm>
        </p:grpSpPr>
        <p:sp>
          <p:nvSpPr>
            <p:cNvPr id="201" name="Rectangle 200">
              <a:extLst>
                <a:ext uri="{FF2B5EF4-FFF2-40B4-BE49-F238E27FC236}">
                  <a16:creationId xmlns:a16="http://schemas.microsoft.com/office/drawing/2014/main" id="{44F069DE-7BCB-1396-E950-11A6A778E8EA}"/>
                </a:ext>
              </a:extLst>
            </p:cNvPr>
            <p:cNvSpPr/>
            <p:nvPr/>
          </p:nvSpPr>
          <p:spPr bwMode="ltGray">
            <a:xfrm>
              <a:off x="6356142" y="1093569"/>
              <a:ext cx="5412099" cy="316121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8DA6F4D1-7054-F78D-0EE6-0227485EC979}"/>
                </a:ext>
              </a:extLst>
            </p:cNvPr>
            <p:cNvSpPr txBox="1"/>
            <p:nvPr/>
          </p:nvSpPr>
          <p:spPr>
            <a:xfrm>
              <a:off x="6214185" y="846896"/>
              <a:ext cx="5412098" cy="32729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5BD20415-FB7E-31C8-A14F-21B475D2D37A}"/>
              </a:ext>
            </a:extLst>
          </p:cNvPr>
          <p:cNvGrpSpPr/>
          <p:nvPr/>
        </p:nvGrpSpPr>
        <p:grpSpPr>
          <a:xfrm>
            <a:off x="8164358" y="1008950"/>
            <a:ext cx="3888267" cy="2556232"/>
            <a:chOff x="6214185" y="846896"/>
            <a:chExt cx="5554056" cy="3407883"/>
          </a:xfrm>
        </p:grpSpPr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29AE8B11-E173-C34B-1FB6-B087131245CB}"/>
                </a:ext>
              </a:extLst>
            </p:cNvPr>
            <p:cNvSpPr/>
            <p:nvPr/>
          </p:nvSpPr>
          <p:spPr bwMode="ltGray">
            <a:xfrm>
              <a:off x="6356142" y="1093569"/>
              <a:ext cx="5412099" cy="316121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205" name="TextBox 204">
              <a:extLst>
                <a:ext uri="{FF2B5EF4-FFF2-40B4-BE49-F238E27FC236}">
                  <a16:creationId xmlns:a16="http://schemas.microsoft.com/office/drawing/2014/main" id="{07F54258-5333-8D96-1E3B-46EB6996D4C1}"/>
                </a:ext>
              </a:extLst>
            </p:cNvPr>
            <p:cNvSpPr txBox="1"/>
            <p:nvPr/>
          </p:nvSpPr>
          <p:spPr>
            <a:xfrm>
              <a:off x="6214185" y="846896"/>
              <a:ext cx="5412098" cy="32729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04F3571C-B99C-C2E4-15DD-176CB4550D45}"/>
              </a:ext>
            </a:extLst>
          </p:cNvPr>
          <p:cNvGrpSpPr/>
          <p:nvPr/>
        </p:nvGrpSpPr>
        <p:grpSpPr>
          <a:xfrm>
            <a:off x="139373" y="3620622"/>
            <a:ext cx="3888267" cy="2556232"/>
            <a:chOff x="6214185" y="846896"/>
            <a:chExt cx="5554056" cy="3407883"/>
          </a:xfrm>
        </p:grpSpPr>
        <p:sp>
          <p:nvSpPr>
            <p:cNvPr id="207" name="Rectangle 206">
              <a:extLst>
                <a:ext uri="{FF2B5EF4-FFF2-40B4-BE49-F238E27FC236}">
                  <a16:creationId xmlns:a16="http://schemas.microsoft.com/office/drawing/2014/main" id="{144460A3-9545-C71E-A142-C17D01C2D176}"/>
                </a:ext>
              </a:extLst>
            </p:cNvPr>
            <p:cNvSpPr/>
            <p:nvPr/>
          </p:nvSpPr>
          <p:spPr bwMode="ltGray">
            <a:xfrm>
              <a:off x="6356142" y="1093569"/>
              <a:ext cx="5412099" cy="316121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208" name="TextBox 207">
              <a:extLst>
                <a:ext uri="{FF2B5EF4-FFF2-40B4-BE49-F238E27FC236}">
                  <a16:creationId xmlns:a16="http://schemas.microsoft.com/office/drawing/2014/main" id="{DDD3BEB5-0DCA-E4B7-9079-0908D4D5A5D2}"/>
                </a:ext>
              </a:extLst>
            </p:cNvPr>
            <p:cNvSpPr txBox="1"/>
            <p:nvPr/>
          </p:nvSpPr>
          <p:spPr>
            <a:xfrm>
              <a:off x="6214185" y="846896"/>
              <a:ext cx="5412098" cy="32729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</p:grpSp>
      <p:grpSp>
        <p:nvGrpSpPr>
          <p:cNvPr id="209" name="Group 208">
            <a:extLst>
              <a:ext uri="{FF2B5EF4-FFF2-40B4-BE49-F238E27FC236}">
                <a16:creationId xmlns:a16="http://schemas.microsoft.com/office/drawing/2014/main" id="{BF5F1B08-AC85-2520-AF7F-3FBDE617C0C5}"/>
              </a:ext>
            </a:extLst>
          </p:cNvPr>
          <p:cNvGrpSpPr/>
          <p:nvPr/>
        </p:nvGrpSpPr>
        <p:grpSpPr>
          <a:xfrm>
            <a:off x="4151866" y="3636469"/>
            <a:ext cx="3888267" cy="2556232"/>
            <a:chOff x="6214185" y="846896"/>
            <a:chExt cx="5554056" cy="3407883"/>
          </a:xfrm>
        </p:grpSpPr>
        <p:sp>
          <p:nvSpPr>
            <p:cNvPr id="210" name="Rectangle 209">
              <a:extLst>
                <a:ext uri="{FF2B5EF4-FFF2-40B4-BE49-F238E27FC236}">
                  <a16:creationId xmlns:a16="http://schemas.microsoft.com/office/drawing/2014/main" id="{F30131E9-2909-E18E-B9EA-A431F5F835E4}"/>
                </a:ext>
              </a:extLst>
            </p:cNvPr>
            <p:cNvSpPr/>
            <p:nvPr/>
          </p:nvSpPr>
          <p:spPr bwMode="ltGray">
            <a:xfrm>
              <a:off x="6356142" y="1093569"/>
              <a:ext cx="5412099" cy="316121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211" name="TextBox 210">
              <a:extLst>
                <a:ext uri="{FF2B5EF4-FFF2-40B4-BE49-F238E27FC236}">
                  <a16:creationId xmlns:a16="http://schemas.microsoft.com/office/drawing/2014/main" id="{0C04B856-79A2-CFB0-746D-ADCA21831333}"/>
                </a:ext>
              </a:extLst>
            </p:cNvPr>
            <p:cNvSpPr txBox="1"/>
            <p:nvPr/>
          </p:nvSpPr>
          <p:spPr>
            <a:xfrm>
              <a:off x="6214185" y="846896"/>
              <a:ext cx="5412098" cy="32729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B8F7C938-EBA8-9583-E6A1-5ACDB7056F65}"/>
              </a:ext>
            </a:extLst>
          </p:cNvPr>
          <p:cNvGrpSpPr/>
          <p:nvPr/>
        </p:nvGrpSpPr>
        <p:grpSpPr>
          <a:xfrm>
            <a:off x="8164358" y="3644393"/>
            <a:ext cx="3888267" cy="2556232"/>
            <a:chOff x="6214185" y="846896"/>
            <a:chExt cx="5554056" cy="3407883"/>
          </a:xfrm>
        </p:grpSpPr>
        <p:sp>
          <p:nvSpPr>
            <p:cNvPr id="213" name="Rectangle 212">
              <a:extLst>
                <a:ext uri="{FF2B5EF4-FFF2-40B4-BE49-F238E27FC236}">
                  <a16:creationId xmlns:a16="http://schemas.microsoft.com/office/drawing/2014/main" id="{E391A9C4-F0C1-5BD8-471F-BBFB322C7DA2}"/>
                </a:ext>
              </a:extLst>
            </p:cNvPr>
            <p:cNvSpPr/>
            <p:nvPr/>
          </p:nvSpPr>
          <p:spPr bwMode="ltGray">
            <a:xfrm>
              <a:off x="6356142" y="1093569"/>
              <a:ext cx="5412099" cy="3161210"/>
            </a:xfrm>
            <a:prstGeom prst="rect">
              <a:avLst/>
            </a:prstGeom>
            <a:blipFill>
              <a:blip r:embed="rId3"/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214" name="TextBox 213">
              <a:extLst>
                <a:ext uri="{FF2B5EF4-FFF2-40B4-BE49-F238E27FC236}">
                  <a16:creationId xmlns:a16="http://schemas.microsoft.com/office/drawing/2014/main" id="{1A6B8846-7F89-1D23-B921-EE38BF49E2AA}"/>
                </a:ext>
              </a:extLst>
            </p:cNvPr>
            <p:cNvSpPr txBox="1"/>
            <p:nvPr/>
          </p:nvSpPr>
          <p:spPr>
            <a:xfrm>
              <a:off x="6214185" y="846896"/>
              <a:ext cx="5412098" cy="327298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2"/>
              </a:solidFill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</p:grpSp>
      <p:sp>
        <p:nvSpPr>
          <p:cNvPr id="216" name="TextBox 215">
            <a:extLst>
              <a:ext uri="{FF2B5EF4-FFF2-40B4-BE49-F238E27FC236}">
                <a16:creationId xmlns:a16="http://schemas.microsoft.com/office/drawing/2014/main" id="{AAE3B0A1-86ED-3E10-6982-12F6668D5DC2}"/>
              </a:ext>
            </a:extLst>
          </p:cNvPr>
          <p:cNvSpPr txBox="1"/>
          <p:nvPr/>
        </p:nvSpPr>
        <p:spPr>
          <a:xfrm>
            <a:off x="348885" y="1096059"/>
            <a:ext cx="3940496" cy="84023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/>
              <a:t>Software </a:t>
            </a:r>
            <a:r>
              <a:rPr lang="fr-FR" dirty="0" err="1"/>
              <a:t>Defined</a:t>
            </a:r>
            <a:r>
              <a:rPr lang="fr-FR" dirty="0"/>
              <a:t> Storage </a:t>
            </a:r>
            <a:r>
              <a:rPr lang="fr-FR" b="1" dirty="0"/>
              <a:t>CEPH</a:t>
            </a:r>
            <a:br>
              <a:rPr lang="fr-FR" dirty="0"/>
            </a:br>
            <a:r>
              <a:rPr lang="fr-FR" dirty="0"/>
              <a:t>Stockage de données distribuées</a:t>
            </a:r>
            <a:br>
              <a:rPr lang="fr-FR" dirty="0"/>
            </a:br>
            <a:r>
              <a:rPr lang="fr-FR" dirty="0"/>
              <a:t>Optimisation Cout Stockage et densité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EDC12C34-AE6D-A7BE-5FDE-A759D95412D3}"/>
              </a:ext>
            </a:extLst>
          </p:cNvPr>
          <p:cNvSpPr txBox="1"/>
          <p:nvPr/>
        </p:nvSpPr>
        <p:spPr>
          <a:xfrm>
            <a:off x="4243000" y="1078563"/>
            <a:ext cx="3518391" cy="89152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b="1" dirty="0"/>
              <a:t>Calcul GPU </a:t>
            </a:r>
            <a:r>
              <a:rPr lang="fr-FR" dirty="0"/>
              <a:t>pour cas d’usages IA, ML, Deep </a:t>
            </a:r>
            <a:r>
              <a:rPr lang="fr-FR" dirty="0" err="1"/>
              <a:t>learning</a:t>
            </a:r>
            <a:r>
              <a:rPr lang="fr-FR" dirty="0"/>
              <a:t>, etc…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/>
              <a:t>Densité de GPU / U		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C4579288-907E-4527-6AD1-F3403681A534}"/>
              </a:ext>
            </a:extLst>
          </p:cNvPr>
          <p:cNvSpPr txBox="1"/>
          <p:nvPr/>
        </p:nvSpPr>
        <p:spPr>
          <a:xfrm>
            <a:off x="285743" y="3682499"/>
            <a:ext cx="3533782" cy="6463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fr-FR" dirty="0"/>
              <a:t>Protection de la donnée: </a:t>
            </a:r>
            <a:r>
              <a:rPr lang="fr-FR" b="1" dirty="0"/>
              <a:t>sauvegarde, reprise d’activité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CEEA3547-1E02-8F95-959B-D1CE6ABBC20C}"/>
              </a:ext>
            </a:extLst>
          </p:cNvPr>
          <p:cNvSpPr txBox="1"/>
          <p:nvPr/>
        </p:nvSpPr>
        <p:spPr>
          <a:xfrm>
            <a:off x="4257903" y="3702132"/>
            <a:ext cx="3602618" cy="1089529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</a:pPr>
            <a:r>
              <a:rPr lang="fr-FR" dirty="0"/>
              <a:t>Software </a:t>
            </a:r>
            <a:r>
              <a:rPr lang="fr-FR" dirty="0" err="1"/>
              <a:t>Defined</a:t>
            </a:r>
            <a:r>
              <a:rPr lang="fr-FR" dirty="0"/>
              <a:t> Storage Fichier et Objet via nos </a:t>
            </a:r>
            <a:r>
              <a:rPr lang="fr-FR" b="1" dirty="0"/>
              <a:t>ISV</a:t>
            </a:r>
            <a:br>
              <a:rPr lang="fr-FR" dirty="0"/>
            </a:br>
            <a:r>
              <a:rPr lang="fr-FR" dirty="0"/>
              <a:t>Stockage volumineux / performant / distribué</a:t>
            </a:r>
            <a:endParaRPr lang="en-US" dirty="0"/>
          </a:p>
        </p:txBody>
      </p:sp>
      <p:pic>
        <p:nvPicPr>
          <p:cNvPr id="1026" name="Picture 2" descr="Hpe Ddr4 Smart Memory Bis Zu 2666 Mt/s Hpe Apollo 4500 System 4u Rack  Server - Buy Hpe Apollo 4510 Rack Server,Hpe Apollo 4510 Gen10 System,Hpe  Apollo 4510 Gen10 System 4u Rack">
            <a:extLst>
              <a:ext uri="{FF2B5EF4-FFF2-40B4-BE49-F238E27FC236}">
                <a16:creationId xmlns:a16="http://schemas.microsoft.com/office/drawing/2014/main" id="{68DEC6FF-3775-04F5-6C76-1386EEC14C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452" y="2069144"/>
            <a:ext cx="1698635" cy="1273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5" name="TextBox 224">
            <a:extLst>
              <a:ext uri="{FF2B5EF4-FFF2-40B4-BE49-F238E27FC236}">
                <a16:creationId xmlns:a16="http://schemas.microsoft.com/office/drawing/2014/main" id="{D13557B2-7E12-E993-6B7C-2A80DD13B811}"/>
              </a:ext>
            </a:extLst>
          </p:cNvPr>
          <p:cNvSpPr txBox="1"/>
          <p:nvPr/>
        </p:nvSpPr>
        <p:spPr>
          <a:xfrm>
            <a:off x="1971492" y="2106966"/>
            <a:ext cx="2228144" cy="127932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1440" tIns="45720" rIns="91440" bIns="45720" anchor="t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/>
              <a:t>A</a:t>
            </a:r>
            <a:r>
              <a:rPr lang="fr-FR" sz="1600" dirty="0"/>
              <a:t>pollo</a:t>
            </a:r>
            <a:br>
              <a:rPr lang="fr-FR" sz="1600" dirty="0"/>
            </a:br>
            <a:r>
              <a:rPr lang="fr-FR" sz="1600" dirty="0"/>
              <a:t>4200 (2U)</a:t>
            </a:r>
            <a:br>
              <a:rPr lang="fr-FR" sz="1600" dirty="0"/>
            </a:br>
            <a:r>
              <a:rPr lang="fr-FR" sz="1600" dirty="0"/>
              <a:t>4500 (4U)</a:t>
            </a:r>
            <a:br>
              <a:rPr lang="fr-FR" sz="1600" dirty="0"/>
            </a:br>
            <a:r>
              <a:rPr lang="fr-FR" sz="1600" dirty="0" err="1"/>
              <a:t>Alletra</a:t>
            </a:r>
            <a:r>
              <a:rPr lang="fr-FR" sz="1600" dirty="0"/>
              <a:t> 4xx0</a:t>
            </a:r>
          </a:p>
          <a:p>
            <a:pPr algn="ctr">
              <a:lnSpc>
                <a:spcPct val="90000"/>
              </a:lnSpc>
              <a:spcBef>
                <a:spcPts val="400"/>
              </a:spcBef>
            </a:pPr>
            <a:r>
              <a:rPr lang="fr-FR" sz="1600" dirty="0">
                <a:ea typeface="+mn-lt"/>
                <a:cs typeface="+mn-lt"/>
              </a:rPr>
              <a:t>DL380/385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C45233C5-54B8-701E-4ADC-28D90E774E32}"/>
              </a:ext>
            </a:extLst>
          </p:cNvPr>
          <p:cNvSpPr txBox="1"/>
          <p:nvPr/>
        </p:nvSpPr>
        <p:spPr>
          <a:xfrm>
            <a:off x="8251610" y="3720805"/>
            <a:ext cx="3614380" cy="114082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 err="1"/>
              <a:t>Hyperconvergence</a:t>
            </a:r>
            <a:endParaRPr lang="fr-FR" dirty="0"/>
          </a:p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/>
              <a:t>Infrastructures de </a:t>
            </a:r>
            <a:r>
              <a:rPr lang="fr-FR" b="1" dirty="0"/>
              <a:t>virtualisation</a:t>
            </a:r>
            <a:r>
              <a:rPr lang="fr-FR" dirty="0"/>
              <a:t>, </a:t>
            </a:r>
            <a:r>
              <a:rPr lang="fr-FR" b="1" dirty="0"/>
              <a:t>applications critiques, </a:t>
            </a:r>
            <a:r>
              <a:rPr lang="fr-FR" dirty="0" err="1"/>
              <a:t>clouds</a:t>
            </a:r>
            <a:r>
              <a:rPr lang="fr-FR" dirty="0"/>
              <a:t> privés, VDI…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0DF2F066-4B1B-6A62-015B-85D3F29EE037}"/>
              </a:ext>
            </a:extLst>
          </p:cNvPr>
          <p:cNvSpPr txBox="1"/>
          <p:nvPr/>
        </p:nvSpPr>
        <p:spPr>
          <a:xfrm>
            <a:off x="8251609" y="1100784"/>
            <a:ext cx="3591505" cy="5909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b="1" dirty="0"/>
              <a:t>Calcul CPU </a:t>
            </a:r>
            <a:r>
              <a:rPr lang="fr-FR" dirty="0"/>
              <a:t>pour cas d’usages d’études scientifiques spécifiques</a:t>
            </a:r>
          </a:p>
        </p:txBody>
      </p:sp>
      <p:pic>
        <p:nvPicPr>
          <p:cNvPr id="1032" name="Picture 8" descr="HPE Apollo 6500 Gen10 System | HPE Store Deutschland">
            <a:extLst>
              <a:ext uri="{FF2B5EF4-FFF2-40B4-BE49-F238E27FC236}">
                <a16:creationId xmlns:a16="http://schemas.microsoft.com/office/drawing/2014/main" id="{FFEDFDAE-D7DD-C4A5-D5E8-10E14FE91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1439" y="1933847"/>
            <a:ext cx="1874963" cy="1406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1" name="TextBox 230">
            <a:extLst>
              <a:ext uri="{FF2B5EF4-FFF2-40B4-BE49-F238E27FC236}">
                <a16:creationId xmlns:a16="http://schemas.microsoft.com/office/drawing/2014/main" id="{9FB80F47-8E46-84DD-D892-8AA76DEC8821}"/>
              </a:ext>
            </a:extLst>
          </p:cNvPr>
          <p:cNvSpPr txBox="1"/>
          <p:nvPr/>
        </p:nvSpPr>
        <p:spPr>
          <a:xfrm>
            <a:off x="6186627" y="2255720"/>
            <a:ext cx="1483360" cy="642227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/>
              <a:t>Apollo 6500</a:t>
            </a:r>
          </a:p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/>
              <a:t>DL380a G11</a:t>
            </a:r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9BBF4092-02E4-A67F-7C6B-3790C6BF1DC9}"/>
              </a:ext>
            </a:extLst>
          </p:cNvPr>
          <p:cNvSpPr txBox="1"/>
          <p:nvPr/>
        </p:nvSpPr>
        <p:spPr>
          <a:xfrm>
            <a:off x="2542377" y="4530710"/>
            <a:ext cx="1277148" cy="1477328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fr-FR" dirty="0"/>
              <a:t>DR </a:t>
            </a:r>
            <a:r>
              <a:rPr lang="fr-FR" dirty="0" err="1"/>
              <a:t>Zerto</a:t>
            </a:r>
            <a:br>
              <a:rPr lang="fr-FR" dirty="0"/>
            </a:br>
            <a:r>
              <a:rPr lang="fr-FR" dirty="0" err="1"/>
              <a:t>StoreEver</a:t>
            </a:r>
            <a:r>
              <a:rPr lang="fr-FR" dirty="0"/>
              <a:t> et LTO</a:t>
            </a:r>
          </a:p>
          <a:p>
            <a:r>
              <a:rPr lang="fr-FR" dirty="0"/>
              <a:t>Virtual Lock</a:t>
            </a:r>
          </a:p>
          <a:p>
            <a:r>
              <a:rPr lang="fr-FR" dirty="0"/>
              <a:t>StoreOnce</a:t>
            </a:r>
            <a:endParaRPr lang="en-US" dirty="0"/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F3713F33-FB29-9AE1-6203-4929F6FDDF76}"/>
              </a:ext>
            </a:extLst>
          </p:cNvPr>
          <p:cNvSpPr txBox="1"/>
          <p:nvPr/>
        </p:nvSpPr>
        <p:spPr>
          <a:xfrm>
            <a:off x="10536694" y="2337860"/>
            <a:ext cx="1350506" cy="59819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/>
              <a:t>Apollo/</a:t>
            </a:r>
            <a:r>
              <a:rPr lang="fr-FR" dirty="0" err="1"/>
              <a:t>Cray</a:t>
            </a:r>
            <a:r>
              <a:rPr lang="fr-FR" dirty="0"/>
              <a:t> XD2000</a:t>
            </a:r>
          </a:p>
        </p:txBody>
      </p:sp>
      <p:pic>
        <p:nvPicPr>
          <p:cNvPr id="1034" name="Picture 10" descr="HPE APOLLO 2000 GEN10 overview">
            <a:extLst>
              <a:ext uri="{FF2B5EF4-FFF2-40B4-BE49-F238E27FC236}">
                <a16:creationId xmlns:a16="http://schemas.microsoft.com/office/drawing/2014/main" id="{5367DE6F-A940-E9B8-9668-B7EE91177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5429" y="1979844"/>
            <a:ext cx="2089462" cy="1193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Zerto - DataManagement Professionals">
            <a:extLst>
              <a:ext uri="{FF2B5EF4-FFF2-40B4-BE49-F238E27FC236}">
                <a16:creationId xmlns:a16="http://schemas.microsoft.com/office/drawing/2014/main" id="{E939AD6B-B5F3-43C6-A721-ABDCBC6D34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885" y="4501589"/>
            <a:ext cx="708390" cy="20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HPE STOREEVER MSL3040 SCALABLE LIBRARY BASE MODULE 3U | macleshop">
            <a:extLst>
              <a:ext uri="{FF2B5EF4-FFF2-40B4-BE49-F238E27FC236}">
                <a16:creationId xmlns:a16="http://schemas.microsoft.com/office/drawing/2014/main" id="{B57FBEF1-693C-7FC5-28AB-994DBC91BD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1559" y="4812242"/>
            <a:ext cx="1356534" cy="405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HPE StoreOnce 3660-Basissystem mit 80 TB | HPE Store Deutschland">
            <a:extLst>
              <a:ext uri="{FF2B5EF4-FFF2-40B4-BE49-F238E27FC236}">
                <a16:creationId xmlns:a16="http://schemas.microsoft.com/office/drawing/2014/main" id="{9D33BB9F-5718-5D32-C69C-4B89A3FF7B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277" y="4977075"/>
            <a:ext cx="1634283" cy="1225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Scality: Object Storage &amp; Cloud Solutions Leader | Scality">
            <a:extLst>
              <a:ext uri="{FF2B5EF4-FFF2-40B4-BE49-F238E27FC236}">
                <a16:creationId xmlns:a16="http://schemas.microsoft.com/office/drawing/2014/main" id="{D0CE7A13-F811-86FC-2C7E-9CB432495C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627" y="4918413"/>
            <a:ext cx="1441451" cy="433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Cohesity Germany GmbH | sva.de">
            <a:extLst>
              <a:ext uri="{FF2B5EF4-FFF2-40B4-BE49-F238E27FC236}">
                <a16:creationId xmlns:a16="http://schemas.microsoft.com/office/drawing/2014/main" id="{B1F262DA-D45D-B0A5-8CBD-23CB7AF01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4601" y="4978758"/>
            <a:ext cx="1600200" cy="235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Qumulo | Manage Petabytes of Unstructured Data with Radical Simplicity">
            <a:extLst>
              <a:ext uri="{FF2B5EF4-FFF2-40B4-BE49-F238E27FC236}">
                <a16:creationId xmlns:a16="http://schemas.microsoft.com/office/drawing/2014/main" id="{CB55CDA6-3ECB-6E84-4F1E-CC67B44C73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5175" y="5384523"/>
            <a:ext cx="1502911" cy="631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5" name="TextBox 244">
            <a:extLst>
              <a:ext uri="{FF2B5EF4-FFF2-40B4-BE49-F238E27FC236}">
                <a16:creationId xmlns:a16="http://schemas.microsoft.com/office/drawing/2014/main" id="{80A8EAB6-9908-ED32-BA90-C00E97404BE4}"/>
              </a:ext>
            </a:extLst>
          </p:cNvPr>
          <p:cNvSpPr txBox="1"/>
          <p:nvPr/>
        </p:nvSpPr>
        <p:spPr>
          <a:xfrm>
            <a:off x="10693129" y="4871916"/>
            <a:ext cx="1082921" cy="94282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>
            <a:spAutoFit/>
          </a:bodyPr>
          <a:lstStyle/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/>
              <a:t>Simplivity</a:t>
            </a:r>
          </a:p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 err="1"/>
              <a:t>dHCI</a:t>
            </a:r>
            <a:endParaRPr lang="fr-FR" dirty="0"/>
          </a:p>
          <a:p>
            <a:pPr marL="0" indent="0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dirty="0" err="1"/>
              <a:t>vSAN</a:t>
            </a:r>
            <a:endParaRPr lang="en-US" dirty="0"/>
          </a:p>
        </p:txBody>
      </p:sp>
      <p:pic>
        <p:nvPicPr>
          <p:cNvPr id="247" name="Picture 246">
            <a:extLst>
              <a:ext uri="{FF2B5EF4-FFF2-40B4-BE49-F238E27FC236}">
                <a16:creationId xmlns:a16="http://schemas.microsoft.com/office/drawing/2014/main" id="{8E588FE1-949A-75F3-EE13-BF808C463B1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986972" y="4784332"/>
            <a:ext cx="1383169" cy="1223706"/>
          </a:xfrm>
          <a:prstGeom prst="rect">
            <a:avLst/>
          </a:prstGeom>
        </p:spPr>
      </p:pic>
      <p:pic>
        <p:nvPicPr>
          <p:cNvPr id="5" name="Picture 5" descr="A picture containing icon&#10;&#10;Description automatically generated">
            <a:extLst>
              <a:ext uri="{FF2B5EF4-FFF2-40B4-BE49-F238E27FC236}">
                <a16:creationId xmlns:a16="http://schemas.microsoft.com/office/drawing/2014/main" id="{42AFC3B0-F000-6F64-DBD3-E4370C72A3A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48400" y="5358172"/>
            <a:ext cx="1346200" cy="692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896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60D165A4-D4BB-FB4F-31B4-B11A579CD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Agenda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5171EFC-2AF3-3AD0-240D-5DAAE95FF4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fr-FR" dirty="0"/>
              <a:t>Questions / Répons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879927D-4552-8D84-5FBB-80601002C6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70000" lnSpcReduction="20000"/>
          </a:bodyPr>
          <a:lstStyle/>
          <a:p>
            <a:endParaRPr lang="fr-FR" dirty="0"/>
          </a:p>
          <a:p>
            <a:r>
              <a:rPr lang="fr-FR" sz="2800" dirty="0"/>
              <a:t>Rappels des solutions d’architecture (</a:t>
            </a:r>
            <a:r>
              <a:rPr lang="fr-FR" sz="2800" dirty="0" err="1"/>
              <a:t>Ceph</a:t>
            </a:r>
            <a:r>
              <a:rPr lang="fr-FR" sz="2800" dirty="0"/>
              <a:t>, Protection données, HPC, VDI,….)</a:t>
            </a:r>
          </a:p>
          <a:p>
            <a:endParaRPr lang="fr-FR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6769F68-7035-4441-D124-C43D274180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Solutions de Back-up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9A02EF-610F-16CA-C887-E01B98D5AA5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anchor="ctr"/>
          <a:lstStyle/>
          <a:p>
            <a:r>
              <a:rPr lang="fr-FR" dirty="0"/>
              <a:t>Nouveautés technologiques stockage </a:t>
            </a:r>
            <a:r>
              <a:rPr lang="fr-FR" dirty="0" err="1"/>
              <a:t>Alletr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F67C73F-5B54-611D-465F-8890F4C072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Nouveautés technologiques serveurs Génération 1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8B1831-293C-EF7D-DBC2-985D2B56BA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Notre organisation HPE et un résumé de l’offre produits et servic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AA56F7-1B85-87D0-14A7-8C8256A55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| Authorized </a:t>
            </a:r>
          </a:p>
        </p:txBody>
      </p:sp>
    </p:spTree>
    <p:extLst>
      <p:ext uri="{BB962C8B-B14F-4D97-AF65-F5344CB8AC3E}">
        <p14:creationId xmlns:p14="http://schemas.microsoft.com/office/powerpoint/2010/main" val="366141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3817C569-99BE-4C61-8DBB-67B2DD7618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rci</a:t>
            </a:r>
          </a:p>
        </p:txBody>
      </p:sp>
      <p:grpSp>
        <p:nvGrpSpPr>
          <p:cNvPr id="2" name="Logo">
            <a:extLst>
              <a:ext uri="{FF2B5EF4-FFF2-40B4-BE49-F238E27FC236}">
                <a16:creationId xmlns:a16="http://schemas.microsoft.com/office/drawing/2014/main" id="{3BBA7F95-CCDD-DFCB-0239-2E10BC12F248}"/>
              </a:ext>
            </a:extLst>
          </p:cNvPr>
          <p:cNvGrpSpPr>
            <a:grpSpLocks noChangeAspect="1"/>
          </p:cNvGrpSpPr>
          <p:nvPr/>
        </p:nvGrpSpPr>
        <p:grpSpPr>
          <a:xfrm>
            <a:off x="393523" y="381956"/>
            <a:ext cx="2218745" cy="893759"/>
            <a:chOff x="393523" y="381956"/>
            <a:chExt cx="2218745" cy="893759"/>
          </a:xfrm>
        </p:grpSpPr>
        <p:sp>
          <p:nvSpPr>
            <p:cNvPr id="5" name="Element">
              <a:extLst>
                <a:ext uri="{FF2B5EF4-FFF2-40B4-BE49-F238E27FC236}">
                  <a16:creationId xmlns:a16="http://schemas.microsoft.com/office/drawing/2014/main" id="{3E6C196C-D93C-789B-3193-9A6B20E8FF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381956"/>
              <a:ext cx="759854" cy="211008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  <p:sp>
          <p:nvSpPr>
            <p:cNvPr id="6" name="Wordmark">
              <a:extLst>
                <a:ext uri="{FF2B5EF4-FFF2-40B4-BE49-F238E27FC236}">
                  <a16:creationId xmlns:a16="http://schemas.microsoft.com/office/drawing/2014/main" id="{AD48A37F-1E63-A8FF-898B-D03975D921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23" y="730052"/>
              <a:ext cx="2218745" cy="545663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MetricHPE Black" panose="020B0A03030202060203" pitchFamily="34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17838FF0-AF2F-4E06-8B14-19031A1F9F96}"/>
              </a:ext>
            </a:extLst>
          </p:cNvPr>
          <p:cNvSpPr txBox="1"/>
          <p:nvPr/>
        </p:nvSpPr>
        <p:spPr>
          <a:xfrm>
            <a:off x="5127279" y="6437013"/>
            <a:ext cx="1937442" cy="29876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GB" sz="1000"/>
              <a:t>a00129229enw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CC1B9AA-0590-8520-1193-1B530B705D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Laurent Wachter: </a:t>
            </a:r>
            <a:r>
              <a:rPr lang="fr-FR" dirty="0">
                <a:hlinkClick r:id="rId3"/>
              </a:rPr>
              <a:t>laurent.wachter@hpe.com</a:t>
            </a:r>
            <a:endParaRPr lang="fr-FR" dirty="0"/>
          </a:p>
          <a:p>
            <a:r>
              <a:rPr lang="fr-FR" dirty="0"/>
              <a:t>Anne-Laure </a:t>
            </a:r>
            <a:r>
              <a:rPr lang="fr-FR" dirty="0" err="1"/>
              <a:t>Camadro</a:t>
            </a:r>
            <a:r>
              <a:rPr lang="fr-FR" dirty="0"/>
              <a:t>: </a:t>
            </a:r>
            <a:r>
              <a:rPr lang="fr-FR" dirty="0">
                <a:hlinkClick r:id="rId4"/>
              </a:rPr>
              <a:t>anne-laure.camadro@hpe.com</a:t>
            </a:r>
            <a:endParaRPr lang="fr-FR" dirty="0"/>
          </a:p>
          <a:p>
            <a:r>
              <a:rPr lang="fr-FR" dirty="0"/>
              <a:t>Eric Pouvreau: </a:t>
            </a:r>
            <a:r>
              <a:rPr lang="fr-FR" dirty="0">
                <a:hlinkClick r:id="rId5"/>
              </a:rPr>
              <a:t>eric.pouvreau@hpe.com</a:t>
            </a:r>
            <a:endParaRPr lang="fr-FR" dirty="0"/>
          </a:p>
          <a:p>
            <a:r>
              <a:rPr lang="fr-FR" dirty="0"/>
              <a:t>Imran Flijja: imran.flijja@hpe.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778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F581DC-A5C6-5DC8-96ED-13C711A3507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all" spc="0" normalizeH="0" baseline="0" noProof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" panose="020B0503030202060203" pitchFamily="34" charset="0"/>
                <a:cs typeface="Arial"/>
              </a:rPr>
              <a:t>CONFIDENTIAL | AUTHORIZED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CAF755-70E0-EE8B-2AD2-0DDD4D351E0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3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srgbClr val="787871"/>
                </a:solidFill>
                <a:effectLst/>
                <a:uLnTx/>
                <a:uFillTx/>
                <a:latin typeface="MetricHPE" panose="020B0503030202060203" pitchFamily="34" charset="0"/>
                <a:cs typeface="Arial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3"/>
                </a:buBlip>
                <a:tabLst/>
                <a:defRPr/>
              </a:pPr>
              <a:t>3</a:t>
            </a:fld>
            <a:endParaRPr kumimoji="0" lang="en-US" sz="2000" b="0" i="0" u="none" strike="noStrike" kern="1200" cap="all" spc="0" normalizeH="0" baseline="10000" noProof="0">
              <a:ln>
                <a:noFill/>
              </a:ln>
              <a:solidFill>
                <a:srgbClr val="787871"/>
              </a:solidFill>
              <a:effectLst/>
              <a:uLnTx/>
              <a:uFillTx/>
              <a:latin typeface="MetricHPE" panose="020B0503030202060203" pitchFamily="34" charset="0"/>
              <a:cs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C6C50D-C21F-8DFD-8736-0E8CAF5DB4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Offre PRODUIT ET SERVICE </a:t>
            </a:r>
            <a:r>
              <a:rPr lang="fr-FR" dirty="0" err="1"/>
              <a:t>hpe</a:t>
            </a:r>
            <a:endParaRPr 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B6F7A1-93C8-9DB0-A868-A9F7A2765BD7}"/>
              </a:ext>
            </a:extLst>
          </p:cNvPr>
          <p:cNvSpPr/>
          <p:nvPr/>
        </p:nvSpPr>
        <p:spPr bwMode="ltGray">
          <a:xfrm>
            <a:off x="417734" y="4474455"/>
            <a:ext cx="8910575" cy="491765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rPr>
              <a:t>Service Support &amp; Installation HP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8074646-EEDB-6A37-7478-723ABBE4F0FF}"/>
              </a:ext>
            </a:extLst>
          </p:cNvPr>
          <p:cNvSpPr/>
          <p:nvPr/>
        </p:nvSpPr>
        <p:spPr bwMode="ltGray">
          <a:xfrm>
            <a:off x="405120" y="5079355"/>
            <a:ext cx="8923189" cy="441092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rPr>
              <a:t>Service d’accompagnement transformation HPE*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6443C4-06C3-2841-F14F-9F422E05E399}"/>
              </a:ext>
            </a:extLst>
          </p:cNvPr>
          <p:cNvSpPr/>
          <p:nvPr/>
        </p:nvSpPr>
        <p:spPr bwMode="ltGray">
          <a:xfrm>
            <a:off x="405121" y="5681133"/>
            <a:ext cx="8910573" cy="375350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rPr>
              <a:t>Formation HP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CF5A56C-C47E-F97B-442F-C43FF2D1B26E}"/>
              </a:ext>
            </a:extLst>
          </p:cNvPr>
          <p:cNvSpPr/>
          <p:nvPr/>
        </p:nvSpPr>
        <p:spPr bwMode="ltGray">
          <a:xfrm>
            <a:off x="9834662" y="1209183"/>
            <a:ext cx="690457" cy="4896244"/>
          </a:xfrm>
          <a:prstGeom prst="rect">
            <a:avLst/>
          </a:prstGeom>
          <a:solidFill>
            <a:srgbClr val="00B050">
              <a:alpha val="80000"/>
            </a:srgbClr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rPr>
              <a:t>Location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469962B-4D45-1A60-3B6F-133E8A26DC52}"/>
              </a:ext>
            </a:extLst>
          </p:cNvPr>
          <p:cNvGrpSpPr/>
          <p:nvPr/>
        </p:nvGrpSpPr>
        <p:grpSpPr>
          <a:xfrm>
            <a:off x="405120" y="1153259"/>
            <a:ext cx="2062589" cy="2534017"/>
            <a:chOff x="392507" y="1176867"/>
            <a:chExt cx="2062589" cy="250886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562DCD8-872E-8AD0-FEDD-BDA58698D28C}"/>
                </a:ext>
              </a:extLst>
            </p:cNvPr>
            <p:cNvSpPr/>
            <p:nvPr/>
          </p:nvSpPr>
          <p:spPr bwMode="ltGray">
            <a:xfrm>
              <a:off x="411213" y="1822196"/>
              <a:ext cx="1997932" cy="1863531"/>
            </a:xfrm>
            <a:prstGeom prst="rect">
              <a:avLst/>
            </a:prstGeom>
            <a:noFill/>
            <a:ln w="57150">
              <a:solidFill>
                <a:srgbClr val="01A98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91440" r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tricHPE"/>
                  <a:cs typeface="Arial"/>
                </a:rPr>
                <a:t>Racks</a:t>
              </a:r>
              <a:b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lang="fr-FR" sz="1600" dirty="0">
                  <a:latin typeface="MetricHPE"/>
                  <a:cs typeface="Arial"/>
                </a:rPr>
                <a:t>Blades</a:t>
              </a:r>
              <a:endPara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HPC &amp; IA</a:t>
              </a:r>
              <a:b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Stockage SDS</a:t>
              </a:r>
              <a:b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Hyperconvergence</a:t>
              </a:r>
              <a:endPara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600" dirty="0">
                  <a:solidFill>
                    <a:prstClr val="white"/>
                  </a:solidFill>
                  <a:latin typeface="MetricHPE"/>
                  <a:cs typeface="Arial"/>
                </a:rPr>
                <a:t>Licences OS</a:t>
              </a:r>
              <a:endPara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A2E49A9-27F7-E75D-C07F-17F18A82BA02}"/>
                </a:ext>
              </a:extLst>
            </p:cNvPr>
            <p:cNvSpPr/>
            <p:nvPr/>
          </p:nvSpPr>
          <p:spPr bwMode="ltGray">
            <a:xfrm>
              <a:off x="392507" y="1176867"/>
              <a:ext cx="2062589" cy="491765"/>
            </a:xfrm>
            <a:prstGeom prst="rect">
              <a:avLst/>
            </a:prstGeom>
            <a:solidFill>
              <a:srgbClr val="01A982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Serveur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FE10C93-8E85-F105-3860-385E867F6958}"/>
              </a:ext>
            </a:extLst>
          </p:cNvPr>
          <p:cNvGrpSpPr/>
          <p:nvPr/>
        </p:nvGrpSpPr>
        <p:grpSpPr>
          <a:xfrm>
            <a:off x="7312439" y="1153258"/>
            <a:ext cx="2003256" cy="2534015"/>
            <a:chOff x="7235031" y="1177444"/>
            <a:chExt cx="2003256" cy="236153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FFD0F7D-1D04-3DAD-64DA-5A14385F9F39}"/>
                </a:ext>
              </a:extLst>
            </p:cNvPr>
            <p:cNvSpPr/>
            <p:nvPr/>
          </p:nvSpPr>
          <p:spPr bwMode="ltGray">
            <a:xfrm>
              <a:off x="7240354" y="1849334"/>
              <a:ext cx="1997932" cy="1689646"/>
            </a:xfrm>
            <a:prstGeom prst="rect">
              <a:avLst/>
            </a:prstGeom>
            <a:noFill/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Ethernet </a:t>
              </a:r>
              <a:r>
                <a:rPr kumimoji="0" lang="fr-F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ToR</a:t>
              </a:r>
              <a:b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Ethernet cœurs de réseau</a:t>
              </a:r>
              <a:b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Switch </a:t>
              </a:r>
              <a:r>
                <a:rPr kumimoji="0" lang="fr-F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infiniband</a:t>
              </a:r>
              <a:b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Switch SA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Logiciels</a:t>
              </a:r>
              <a:b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Wifi*</a:t>
              </a: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05B0896-BC58-2A7C-52CE-80BAAF6132BA}"/>
                </a:ext>
              </a:extLst>
            </p:cNvPr>
            <p:cNvSpPr/>
            <p:nvPr/>
          </p:nvSpPr>
          <p:spPr bwMode="ltGray">
            <a:xfrm>
              <a:off x="7235031" y="1177444"/>
              <a:ext cx="2003256" cy="511204"/>
            </a:xfrm>
            <a:prstGeom prst="rect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Réseau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D7644FA-3363-299A-FECB-236A541542A7}"/>
              </a:ext>
            </a:extLst>
          </p:cNvPr>
          <p:cNvGrpSpPr/>
          <p:nvPr/>
        </p:nvGrpSpPr>
        <p:grpSpPr>
          <a:xfrm>
            <a:off x="10856898" y="1196012"/>
            <a:ext cx="690457" cy="4896244"/>
            <a:chOff x="11272146" y="1209183"/>
            <a:chExt cx="690457" cy="489624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7A7ECCD-B393-80F8-DE42-19B102F1B33D}"/>
                </a:ext>
              </a:extLst>
            </p:cNvPr>
            <p:cNvSpPr/>
            <p:nvPr/>
          </p:nvSpPr>
          <p:spPr bwMode="ltGray">
            <a:xfrm>
              <a:off x="11272146" y="1209183"/>
              <a:ext cx="690457" cy="4896244"/>
            </a:xfrm>
            <a:prstGeom prst="rect">
              <a:avLst/>
            </a:prstGeom>
            <a:solidFill>
              <a:srgbClr val="00B050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Consommation à l’usage*</a:t>
              </a:r>
            </a:p>
          </p:txBody>
        </p:sp>
        <p:pic>
          <p:nvPicPr>
            <p:cNvPr id="1040" name="Picture 16" descr="Top 12 reasons to choose HPE Alletra 5000 | HPE France">
              <a:extLst>
                <a:ext uri="{FF2B5EF4-FFF2-40B4-BE49-F238E27FC236}">
                  <a16:creationId xmlns:a16="http://schemas.microsoft.com/office/drawing/2014/main" id="{01F70E3B-02E2-42BB-6BD7-1608D44CAE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1228562" y="5323011"/>
              <a:ext cx="811126" cy="2804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ECA510C-A85B-86F1-DBFC-D32A8045755E}"/>
              </a:ext>
            </a:extLst>
          </p:cNvPr>
          <p:cNvGrpSpPr/>
          <p:nvPr/>
        </p:nvGrpSpPr>
        <p:grpSpPr>
          <a:xfrm>
            <a:off x="5015232" y="1157499"/>
            <a:ext cx="2077500" cy="2529775"/>
            <a:chOff x="4900928" y="1176866"/>
            <a:chExt cx="2077500" cy="236366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B4E9F98-B7C1-99AE-431E-E5417439857B}"/>
                </a:ext>
              </a:extLst>
            </p:cNvPr>
            <p:cNvSpPr/>
            <p:nvPr/>
          </p:nvSpPr>
          <p:spPr bwMode="ltGray">
            <a:xfrm>
              <a:off x="4931539" y="1829377"/>
              <a:ext cx="2046888" cy="1711151"/>
            </a:xfrm>
            <a:prstGeom prst="rect">
              <a:avLst/>
            </a:prstGeom>
            <a:noFill/>
            <a:ln w="57150">
              <a:solidFill>
                <a:srgbClr val="32DA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Appliances</a:t>
              </a: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 </a:t>
              </a:r>
              <a:b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Band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Logiciel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C5023BF-A609-11BC-3138-CAD353336CAC}"/>
                </a:ext>
              </a:extLst>
            </p:cNvPr>
            <p:cNvSpPr/>
            <p:nvPr/>
          </p:nvSpPr>
          <p:spPr bwMode="ltGray">
            <a:xfrm>
              <a:off x="4900928" y="1176866"/>
              <a:ext cx="2077500" cy="517783"/>
            </a:xfrm>
            <a:prstGeom prst="rect">
              <a:avLst/>
            </a:prstGeom>
            <a:solidFill>
              <a:srgbClr val="32DAC8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algn="ctr"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endParaRPr>
            </a:p>
            <a:p>
              <a:pPr algn="ctr">
                <a:defRPr/>
              </a:pPr>
              <a:r>
                <a: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Sauvegarde &amp; Archivag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29F16B95-5792-34E0-A663-3864FC90481D}"/>
              </a:ext>
            </a:extLst>
          </p:cNvPr>
          <p:cNvGrpSpPr/>
          <p:nvPr/>
        </p:nvGrpSpPr>
        <p:grpSpPr>
          <a:xfrm>
            <a:off x="2718026" y="1153258"/>
            <a:ext cx="2077500" cy="2534017"/>
            <a:chOff x="2555027" y="570640"/>
            <a:chExt cx="2077500" cy="236295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15987EA-7BC3-4F98-DC19-4103F7369D6A}"/>
                </a:ext>
              </a:extLst>
            </p:cNvPr>
            <p:cNvSpPr/>
            <p:nvPr/>
          </p:nvSpPr>
          <p:spPr bwMode="ltGray">
            <a:xfrm>
              <a:off x="2569485" y="1222441"/>
              <a:ext cx="2039964" cy="1711151"/>
            </a:xfrm>
            <a:prstGeom prst="rect">
              <a:avLst/>
            </a:prstGeom>
            <a:noFill/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SAN Primaire Bloc </a:t>
              </a:r>
              <a:b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NAS/Fichier Scalable</a:t>
              </a:r>
              <a:b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</a:b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Objet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0D10D63-3C62-7BB1-2CC4-45ABF90347FB}"/>
                </a:ext>
              </a:extLst>
            </p:cNvPr>
            <p:cNvSpPr/>
            <p:nvPr/>
          </p:nvSpPr>
          <p:spPr bwMode="ltGray">
            <a:xfrm>
              <a:off x="2555027" y="570640"/>
              <a:ext cx="2077500" cy="522024"/>
            </a:xfrm>
            <a:prstGeom prst="rect">
              <a:avLst/>
            </a:prstGeom>
            <a:solidFill>
              <a:schemeClr val="accent4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/>
                  <a:cs typeface="Arial"/>
                </a:rPr>
                <a:t>Stockage</a:t>
              </a:r>
            </a:p>
          </p:txBody>
        </p:sp>
      </p:grp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BA206EB-A84B-7B37-DE04-F99109AD94D1}"/>
              </a:ext>
            </a:extLst>
          </p:cNvPr>
          <p:cNvSpPr txBox="1">
            <a:spLocks/>
          </p:cNvSpPr>
          <p:nvPr/>
        </p:nvSpPr>
        <p:spPr>
          <a:xfrm>
            <a:off x="1720658" y="6301811"/>
            <a:ext cx="41148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defPPr>
              <a:defRPr lang="en-US"/>
            </a:defPPr>
            <a:lvl1pPr marL="0" algn="r" defTabSz="914400" rtl="0" eaLnBrk="1" latinLnBrk="0" hangingPunct="1">
              <a:lnSpc>
                <a:spcPct val="90000"/>
              </a:lnSpc>
              <a:defRPr sz="1200" kern="1200" cap="all" baseline="0">
                <a:solidFill>
                  <a:schemeClr val="bg2"/>
                </a:solidFill>
                <a:latin typeface="MetricHPE" panose="020B050303020206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solidFill>
                  <a:srgbClr val="787871"/>
                </a:solidFill>
                <a:cs typeface="Arial"/>
              </a:rPr>
              <a:t>*HORS CATALOGUE </a:t>
            </a:r>
            <a:r>
              <a:rPr lang="en-US" err="1">
                <a:solidFill>
                  <a:srgbClr val="787871"/>
                </a:solidFill>
                <a:cs typeface="Arial"/>
              </a:rPr>
              <a:t>matinfo</a:t>
            </a:r>
            <a:endParaRPr lang="en-US">
              <a:solidFill>
                <a:srgbClr val="787871"/>
              </a:solidFill>
              <a:cs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14561F1-D497-188A-AEB6-D85DDD11CB14}"/>
              </a:ext>
            </a:extLst>
          </p:cNvPr>
          <p:cNvSpPr/>
          <p:nvPr/>
        </p:nvSpPr>
        <p:spPr bwMode="ltGray">
          <a:xfrm>
            <a:off x="405119" y="3847962"/>
            <a:ext cx="8910575" cy="491765"/>
          </a:xfrm>
          <a:prstGeom prst="rect">
            <a:avLst/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/>
                <a:cs typeface="Arial"/>
              </a:rPr>
              <a:t>Datacenters modulaires*</a:t>
            </a:r>
          </a:p>
        </p:txBody>
      </p:sp>
    </p:spTree>
    <p:extLst>
      <p:ext uri="{BB962C8B-B14F-4D97-AF65-F5344CB8AC3E}">
        <p14:creationId xmlns:p14="http://schemas.microsoft.com/office/powerpoint/2010/main" val="425526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CBD59C-BAF2-4ED7-A449-2565708A90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CBD59C-BAF2-4ED7-A449-2565708A9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C1D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  <a:sym typeface="MetricHPE" panose="020B0503030202060203" pitchFamily="34" charset="0"/>
              </a:rPr>
              <a:t>Confidential | Authorized HPE Partner Use Onl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BF53FBD4-4411-CFDC-506B-76A8C0712FE2}"/>
              </a:ext>
            </a:extLst>
          </p:cNvPr>
          <p:cNvGrpSpPr/>
          <p:nvPr/>
        </p:nvGrpSpPr>
        <p:grpSpPr>
          <a:xfrm>
            <a:off x="509371" y="3899403"/>
            <a:ext cx="11123829" cy="1214402"/>
            <a:chOff x="1300585" y="4295321"/>
            <a:chExt cx="11105605" cy="1526037"/>
          </a:xfrm>
        </p:grpSpPr>
        <p:sp>
          <p:nvSpPr>
            <p:cNvPr id="2" name="Rounded Rectangle 1">
              <a:extLst>
                <a:ext uri="{FF2B5EF4-FFF2-40B4-BE49-F238E27FC236}">
                  <a16:creationId xmlns:a16="http://schemas.microsoft.com/office/drawing/2014/main" id="{5A8D9CB5-D8A9-0EA8-1C06-71C3A2EC5C55}"/>
                </a:ext>
              </a:extLst>
            </p:cNvPr>
            <p:cNvSpPr/>
            <p:nvPr/>
          </p:nvSpPr>
          <p:spPr bwMode="ltGray">
            <a:xfrm>
              <a:off x="5050601" y="4295321"/>
              <a:ext cx="3605574" cy="1526037"/>
            </a:xfrm>
            <a:prstGeom prst="roundRect">
              <a:avLst>
                <a:gd name="adj" fmla="val 10984"/>
              </a:avLst>
            </a:prstGeom>
            <a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HPE Cray Supercomputing</a:t>
              </a:r>
              <a:br>
                <a: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</a:br>
              <a:r>
                <a:rPr kumimoji="0" lang="en-US" sz="20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Optimisé</a:t>
              </a: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 pour HPC et IA</a:t>
              </a:r>
            </a:p>
          </p:txBody>
        </p:sp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A85FD544-A990-F8E2-EC22-9BD9E0F3A145}"/>
                </a:ext>
              </a:extLst>
            </p:cNvPr>
            <p:cNvSpPr/>
            <p:nvPr/>
          </p:nvSpPr>
          <p:spPr bwMode="ltGray">
            <a:xfrm>
              <a:off x="8800617" y="4295322"/>
              <a:ext cx="3605573" cy="1504065"/>
            </a:xfrm>
            <a:prstGeom prst="roundRect">
              <a:avLst>
                <a:gd name="adj" fmla="val 8968"/>
              </a:avLst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 typeface="MetricHPE" panose="020B0503030202060203" pitchFamily="34" charset="0"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HPE </a:t>
              </a:r>
              <a:r>
                <a:rPr kumimoji="0" lang="en-US" sz="3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Alletra</a:t>
              </a: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 Storage</a:t>
              </a:r>
              <a:b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</a:br>
              <a:r>
                <a:rPr kumimoji="0" lang="en-US" sz="20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Optimisé</a:t>
              </a: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 pour Big Data </a:t>
              </a:r>
              <a:b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</a:br>
              <a:r>
                <a: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et stockage scalable  SDS</a:t>
              </a: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endParaRPr>
            </a:p>
          </p:txBody>
        </p:sp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B6824A2E-5624-AE6D-8310-C2FFB605B355}"/>
                </a:ext>
              </a:extLst>
            </p:cNvPr>
            <p:cNvSpPr/>
            <p:nvPr/>
          </p:nvSpPr>
          <p:spPr bwMode="ltGray">
            <a:xfrm>
              <a:off x="1300585" y="4295321"/>
              <a:ext cx="3605574" cy="1504065"/>
            </a:xfrm>
            <a:prstGeom prst="roundRect">
              <a:avLst>
                <a:gd name="adj" fmla="val 10029"/>
              </a:avLst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1440" bIns="9144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  <a:t>HPE ProLiant Compute</a:t>
              </a:r>
              <a:br>
                <a:rPr kumimoji="0" lang="en-US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  <a:sym typeface="MetricHPE" panose="020B0503030202060203" pitchFamily="34" charset="0"/>
                </a:rPr>
              </a:br>
              <a:r>
                <a:rPr lang="en-US" sz="2000">
                  <a:solidFill>
                    <a:prstClr val="white"/>
                  </a:solidFill>
                  <a:latin typeface="MetricHPE Light" panose="020B0303030202060203" pitchFamily="34" charset="77"/>
                  <a:sym typeface="MetricHPE" panose="020B0503030202060203" pitchFamily="34" charset="0"/>
                </a:rPr>
                <a:t>General Purpose</a:t>
              </a: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  <a:sym typeface="MetricHPE" panose="020B0503030202060203" pitchFamily="34" charset="0"/>
              </a:endParaRPr>
            </a:p>
          </p:txBody>
        </p:sp>
      </p:grp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AF49593-B5FF-FCE5-4E36-A81F29616FB8}"/>
              </a:ext>
            </a:extLst>
          </p:cNvPr>
          <p:cNvSpPr txBox="1">
            <a:spLocks/>
          </p:cNvSpPr>
          <p:nvPr/>
        </p:nvSpPr>
        <p:spPr>
          <a:xfrm>
            <a:off x="509371" y="3288"/>
            <a:ext cx="6952905" cy="1938358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Autofit/>
          </a:bodyPr>
          <a:lstStyle>
            <a:lvl1pPr algn="ctr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17000" b="1" kern="1200" cap="none" baseline="0">
                <a:blipFill dpi="0" rotWithShape="1">
                  <a:blip r:embed="rId9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1" i="0" u="none" strike="noStrike" kern="1200" cap="none" spc="0" normalizeH="0" baseline="0" noProof="0">
                <a:ln>
                  <a:noFill/>
                </a:ln>
                <a:blipFill dpi="0" rotWithShape="1">
                  <a:blip r:embed="rId9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Les </a:t>
            </a:r>
            <a:r>
              <a:rPr kumimoji="0" lang="en-US" sz="4500" b="1" i="0" u="none" strike="noStrike" kern="1200" cap="none" spc="0" normalizeH="0" baseline="0" noProof="0" err="1">
                <a:ln>
                  <a:noFill/>
                </a:ln>
                <a:blipFill dpi="0" rotWithShape="1">
                  <a:blip r:embed="rId9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gammes</a:t>
            </a:r>
            <a:r>
              <a:rPr kumimoji="0" lang="en-US" sz="4500" b="1" i="0" u="none" strike="noStrike" kern="1200" cap="none" spc="0" normalizeH="0" baseline="0" noProof="0">
                <a:ln>
                  <a:noFill/>
                </a:ln>
                <a:blipFill dpi="0" rotWithShape="1">
                  <a:blip r:embed="rId9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 de </a:t>
            </a:r>
            <a:r>
              <a:rPr kumimoji="0" lang="en-US" sz="4500" b="1" i="0" u="none" strike="noStrike" kern="1200" cap="none" spc="0" normalizeH="0" baseline="0" noProof="0" err="1">
                <a:ln>
                  <a:noFill/>
                </a:ln>
                <a:blipFill dpi="0" rotWithShape="1">
                  <a:blip r:embed="rId9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serveurs</a:t>
            </a:r>
            <a:r>
              <a:rPr kumimoji="0" lang="en-US" sz="4500" b="1" i="0" u="none" strike="noStrike" kern="1200" cap="none" spc="0" normalizeH="0" baseline="0" noProof="0">
                <a:ln>
                  <a:noFill/>
                </a:ln>
                <a:blipFill dpi="0" rotWithShape="1">
                  <a:blip r:embed="rId9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 HP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FF98787-5143-5A42-01E8-EA83582B7093}"/>
              </a:ext>
            </a:extLst>
          </p:cNvPr>
          <p:cNvSpPr txBox="1"/>
          <p:nvPr/>
        </p:nvSpPr>
        <p:spPr>
          <a:xfrm>
            <a:off x="415852" y="1578687"/>
            <a:ext cx="6124648" cy="569556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MetricHPE" panose="020B0503030202060203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 Light" panose="020B0303030202060203" pitchFamily="34" charset="77"/>
                <a:ea typeface="+mn-ea"/>
                <a:cs typeface="+mn-cs"/>
              </a:rPr>
              <a:t>Data-first modernization makes it possibl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DF18890-3226-329C-916C-3265DA1723C7}"/>
              </a:ext>
            </a:extLst>
          </p:cNvPr>
          <p:cNvSpPr/>
          <p:nvPr/>
        </p:nvSpPr>
        <p:spPr>
          <a:xfrm>
            <a:off x="415089" y="2175513"/>
            <a:ext cx="7141468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HPE </a:t>
            </a:r>
            <a:r>
              <a:rPr kumimoji="0" lang="en-US" sz="6400" b="1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rPr>
              <a:t>Serveurs</a:t>
            </a:r>
            <a:endParaRPr kumimoji="0" lang="en-US" sz="6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AE9107-EEA4-E6B9-5490-A6F17B22F67E}"/>
              </a:ext>
            </a:extLst>
          </p:cNvPr>
          <p:cNvSpPr/>
          <p:nvPr/>
        </p:nvSpPr>
        <p:spPr>
          <a:xfrm>
            <a:off x="415089" y="3078092"/>
            <a:ext cx="11361822" cy="4862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err="1">
                <a:solidFill>
                  <a:prstClr val="black"/>
                </a:solidFill>
                <a:latin typeface="MetricHPE Light" panose="020B0303030202060203" pitchFamily="34" charset="77"/>
              </a:rPr>
              <a:t>sont</a:t>
            </a:r>
            <a:r>
              <a:rPr lang="en-US" sz="3200">
                <a:solidFill>
                  <a:prstClr val="black"/>
                </a:solidFill>
                <a:latin typeface="MetricHPE Light" panose="020B0303030202060203" pitchFamily="34" charset="77"/>
              </a:rPr>
              <a:t> </a:t>
            </a:r>
            <a:r>
              <a:rPr lang="en-US" sz="3200" err="1">
                <a:solidFill>
                  <a:prstClr val="black"/>
                </a:solidFill>
                <a:latin typeface="MetricHPE Light" panose="020B0303030202060203" pitchFamily="34" charset="77"/>
              </a:rPr>
              <a:t>conçus</a:t>
            </a:r>
            <a:r>
              <a:rPr lang="en-US" sz="3200">
                <a:solidFill>
                  <a:prstClr val="black"/>
                </a:solidFill>
                <a:latin typeface="MetricHPE Light" panose="020B0303030202060203" pitchFamily="34" charset="77"/>
              </a:rPr>
              <a:t> pour </a:t>
            </a:r>
            <a:r>
              <a:rPr lang="en-US" sz="3200" err="1">
                <a:solidFill>
                  <a:prstClr val="black"/>
                </a:solidFill>
                <a:latin typeface="MetricHPE Light" panose="020B0303030202060203" pitchFamily="34" charset="77"/>
              </a:rPr>
              <a:t>une</a:t>
            </a:r>
            <a:r>
              <a:rPr lang="en-US" sz="3200">
                <a:solidFill>
                  <a:prstClr val="black"/>
                </a:solidFill>
                <a:latin typeface="MetricHPE Light" panose="020B0303030202060203" pitchFamily="34" charset="77"/>
              </a:rPr>
              <a:t> </a:t>
            </a:r>
            <a:r>
              <a:rPr lang="en-US" sz="3200" err="1">
                <a:solidFill>
                  <a:prstClr val="black"/>
                </a:solidFill>
                <a:latin typeface="MetricHPE Light" panose="020B0303030202060203" pitchFamily="34" charset="77"/>
              </a:rPr>
              <a:t>informatique</a:t>
            </a:r>
            <a:r>
              <a:rPr lang="en-US" sz="3200">
                <a:solidFill>
                  <a:prstClr val="black"/>
                </a:solidFill>
                <a:latin typeface="MetricHPE Light" panose="020B0303030202060203" pitchFamily="34" charset="77"/>
              </a:rPr>
              <a:t> </a:t>
            </a:r>
            <a:r>
              <a:rPr lang="en-US" sz="3200" err="1">
                <a:solidFill>
                  <a:prstClr val="black"/>
                </a:solidFill>
                <a:latin typeface="MetricHPE Light" panose="020B0303030202060203" pitchFamily="34" charset="77"/>
              </a:rPr>
              <a:t>optimale</a:t>
            </a:r>
            <a:r>
              <a:rPr lang="en-US" sz="3200">
                <a:solidFill>
                  <a:prstClr val="black"/>
                </a:solidFill>
                <a:latin typeface="MetricHPE Light" panose="020B0303030202060203" pitchFamily="34" charset="77"/>
              </a:rPr>
              <a:t> par </a:t>
            </a:r>
            <a:r>
              <a:rPr lang="en-US" sz="3200" err="1">
                <a:solidFill>
                  <a:prstClr val="black"/>
                </a:solidFill>
                <a:latin typeface="MetricHPE Light" panose="020B0303030202060203" pitchFamily="34" charset="77"/>
              </a:rPr>
              <a:t>cas</a:t>
            </a:r>
            <a:r>
              <a:rPr lang="en-US" sz="3200">
                <a:solidFill>
                  <a:prstClr val="black"/>
                </a:solidFill>
                <a:latin typeface="MetricHPE Light" panose="020B0303030202060203" pitchFamily="34" charset="77"/>
              </a:rPr>
              <a:t> </a:t>
            </a:r>
            <a:r>
              <a:rPr lang="en-US" sz="3200" err="1">
                <a:solidFill>
                  <a:prstClr val="black"/>
                </a:solidFill>
                <a:latin typeface="MetricHPE Light" panose="020B0303030202060203" pitchFamily="34" charset="77"/>
              </a:rPr>
              <a:t>d’usage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Light" panose="020B0303030202060203" pitchFamily="34" charset="77"/>
              <a:ea typeface="+mn-ea"/>
              <a:cs typeface="+mn-cs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BC0448B-2451-50CA-BC64-67766D0B02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10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10"/>
                </a:buBlip>
                <a:tabLst/>
                <a:defRPr/>
              </a:pPr>
              <a:t>4</a:t>
            </a:fld>
            <a:endParaRPr kumimoji="0" lang="en-US" sz="2000" b="0" i="0" u="none" strike="noStrike" kern="1200" cap="all" spc="0" normalizeH="0" baseline="1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  <p:sp>
        <p:nvSpPr>
          <p:cNvPr id="9" name="Rectangle: Rounded Corners 8">
            <a:hlinkClick r:id="" action="ppaction://noaction"/>
            <a:extLst>
              <a:ext uri="{FF2B5EF4-FFF2-40B4-BE49-F238E27FC236}">
                <a16:creationId xmlns:a16="http://schemas.microsoft.com/office/drawing/2014/main" id="{5514D7F2-B4AE-6CED-E993-965FD218638B}"/>
              </a:ext>
            </a:extLst>
          </p:cNvPr>
          <p:cNvSpPr/>
          <p:nvPr/>
        </p:nvSpPr>
        <p:spPr>
          <a:xfrm>
            <a:off x="509370" y="5348574"/>
            <a:ext cx="11123829" cy="675889"/>
          </a:xfrm>
          <a:prstGeom prst="roundRect">
            <a:avLst>
              <a:gd name="adj" fmla="val 7270"/>
            </a:avLst>
          </a:prstGeom>
          <a:gradFill>
            <a:gsLst>
              <a:gs pos="0">
                <a:srgbClr val="D22E92"/>
              </a:gs>
              <a:gs pos="100000">
                <a:srgbClr val="A422CA"/>
              </a:gs>
            </a:gsLst>
            <a:lin ang="18000000" scaled="0"/>
          </a:gra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>
              <a:lnSpc>
                <a:spcPct val="90000"/>
              </a:lnSpc>
            </a:pPr>
            <a:r>
              <a:rPr lang="en-US" sz="3200" b="1">
                <a:solidFill>
                  <a:prstClr val="white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PE Services Team</a:t>
            </a:r>
          </a:p>
        </p:txBody>
      </p:sp>
    </p:spTree>
    <p:extLst>
      <p:ext uri="{BB962C8B-B14F-4D97-AF65-F5344CB8AC3E}">
        <p14:creationId xmlns:p14="http://schemas.microsoft.com/office/powerpoint/2010/main" val="115947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CBD59C-BAF2-4ED7-A449-2565708A90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CBD59C-BAF2-4ED7-A449-2565708A9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C1D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  <a:sym typeface="MetricHPE" panose="020B0503030202060203" pitchFamily="34" charset="0"/>
              </a:rPr>
              <a:t>Confidential | Authorized HPE Partner Use Onl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5AF49593-B5FF-FCE5-4E36-A81F29616FB8}"/>
              </a:ext>
            </a:extLst>
          </p:cNvPr>
          <p:cNvSpPr txBox="1">
            <a:spLocks/>
          </p:cNvSpPr>
          <p:nvPr/>
        </p:nvSpPr>
        <p:spPr>
          <a:xfrm>
            <a:off x="509371" y="3288"/>
            <a:ext cx="6952905" cy="1938358"/>
          </a:xfrm>
          <a:prstGeom prst="rect">
            <a:avLst/>
          </a:prstGeom>
          <a:ln w="57150">
            <a:noFill/>
            <a:miter lim="800000"/>
          </a:ln>
        </p:spPr>
        <p:txBody>
          <a:bodyPr vert="horz" lIns="0" tIns="432000" rIns="0" bIns="0" rtlCol="0" anchor="ctr" anchorCtr="0">
            <a:noAutofit/>
          </a:bodyPr>
          <a:lstStyle>
            <a:lvl1pPr algn="ctr" defTabSz="914400" rtl="0" eaLnBrk="1" latinLnBrk="0" hangingPunct="1">
              <a:lnSpc>
                <a:spcPct val="75000"/>
              </a:lnSpc>
              <a:spcBef>
                <a:spcPct val="0"/>
              </a:spcBef>
              <a:buNone/>
              <a:defRPr sz="17000" b="1" kern="1200" cap="none" baseline="0">
                <a:blipFill dpi="0" rotWithShape="1">
                  <a:blip r:embed="rId6"/>
                  <a:srcRect/>
                  <a:stretch>
                    <a:fillRect/>
                  </a:stretch>
                </a:blipFill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1" i="0" u="none" strike="noStrike" kern="1200" cap="none" spc="0" normalizeH="0" baseline="0" noProof="0">
                <a:ln>
                  <a:noFill/>
                </a:ln>
                <a:blipFill dpi="0" rotWithShape="1">
                  <a:blip r:embed="rId6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Digital transformation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1" i="0" u="none" strike="noStrike" kern="1200" cap="none" spc="0" normalizeH="0" baseline="0" noProof="0" err="1">
                <a:ln>
                  <a:noFill/>
                </a:ln>
                <a:blipFill dpi="0" rotWithShape="1">
                  <a:blip r:embed="rId6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est</a:t>
            </a:r>
            <a:r>
              <a:rPr kumimoji="0" lang="en-US" sz="4500" b="1" i="0" u="none" strike="noStrike" kern="1200" cap="none" spc="0" normalizeH="0" baseline="0" noProof="0">
                <a:ln>
                  <a:noFill/>
                </a:ln>
                <a:blipFill dpi="0" rotWithShape="1">
                  <a:blip r:embed="rId6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 </a:t>
            </a:r>
            <a:r>
              <a:rPr kumimoji="0" lang="en-US" sz="4500" b="1" i="0" u="none" strike="noStrike" kern="1200" cap="none" spc="0" normalizeH="0" baseline="0" noProof="0" err="1">
                <a:ln>
                  <a:noFill/>
                </a:ln>
                <a:blipFill dpi="0" rotWithShape="1">
                  <a:blip r:embed="rId6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essentielle</a:t>
            </a:r>
            <a:r>
              <a:rPr kumimoji="0" lang="en-US" sz="4500" b="1" i="0" u="none" strike="noStrike" kern="1200" cap="none" spc="0" normalizeH="0" baseline="0" noProof="0">
                <a:ln>
                  <a:noFill/>
                </a:ln>
                <a:blipFill dpi="0" rotWithShape="1">
                  <a:blip r:embed="rId6"/>
                  <a:srcRect/>
                  <a:stretch>
                    <a:fillRect/>
                  </a:stretch>
                </a:blipFill>
                <a:effectLst/>
                <a:uLnTx/>
                <a:uFillTx/>
                <a:latin typeface="MetricHPE" panose="020B0503030202060203" pitchFamily="34" charset="0"/>
                <a:ea typeface="+mj-ea"/>
                <a:cs typeface="+mj-cs"/>
                <a:sym typeface="MetricHPE" panose="020B0503030202060203" pitchFamily="34" charset="0"/>
              </a:rPr>
              <a:t>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C2219A1-F001-2DC5-6C68-ED55633FF9A7}"/>
              </a:ext>
            </a:extLst>
          </p:cNvPr>
          <p:cNvGrpSpPr/>
          <p:nvPr/>
        </p:nvGrpSpPr>
        <p:grpSpPr>
          <a:xfrm>
            <a:off x="370398" y="2140731"/>
            <a:ext cx="11174630" cy="2775624"/>
            <a:chOff x="458570" y="2899581"/>
            <a:chExt cx="11174630" cy="277562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DF18890-3226-329C-916C-3265DA1723C7}"/>
                </a:ext>
              </a:extLst>
            </p:cNvPr>
            <p:cNvSpPr/>
            <p:nvPr/>
          </p:nvSpPr>
          <p:spPr>
            <a:xfrm>
              <a:off x="458571" y="2899581"/>
              <a:ext cx="11000434" cy="9787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ProLiant Generation 11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E2AC34B-079B-AF9D-D136-F36914DCA55F}"/>
                </a:ext>
              </a:extLst>
            </p:cNvPr>
            <p:cNvGrpSpPr/>
            <p:nvPr/>
          </p:nvGrpSpPr>
          <p:grpSpPr>
            <a:xfrm>
              <a:off x="458570" y="3740649"/>
              <a:ext cx="11174630" cy="1934556"/>
              <a:chOff x="458570" y="3740649"/>
              <a:chExt cx="11174630" cy="1934556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BF53FBD4-4411-CFDC-506B-76A8C0712FE2}"/>
                  </a:ext>
                </a:extLst>
              </p:cNvPr>
              <p:cNvGrpSpPr/>
              <p:nvPr/>
            </p:nvGrpSpPr>
            <p:grpSpPr>
              <a:xfrm>
                <a:off x="509371" y="4460803"/>
                <a:ext cx="11123829" cy="1214402"/>
                <a:chOff x="1300585" y="4295321"/>
                <a:chExt cx="11105605" cy="1526037"/>
              </a:xfrm>
            </p:grpSpPr>
            <p:sp>
              <p:nvSpPr>
                <p:cNvPr id="2" name="Rounded Rectangle 1">
                  <a:extLst>
                    <a:ext uri="{FF2B5EF4-FFF2-40B4-BE49-F238E27FC236}">
                      <a16:creationId xmlns:a16="http://schemas.microsoft.com/office/drawing/2014/main" id="{5A8D9CB5-D8A9-0EA8-1C06-71C3A2EC5C55}"/>
                    </a:ext>
                  </a:extLst>
                </p:cNvPr>
                <p:cNvSpPr/>
                <p:nvPr/>
              </p:nvSpPr>
              <p:spPr bwMode="ltGray">
                <a:xfrm>
                  <a:off x="5050601" y="4295321"/>
                  <a:ext cx="3605574" cy="1526037"/>
                </a:xfrm>
                <a:prstGeom prst="roundRect">
                  <a:avLst>
                    <a:gd name="adj" fmla="val 10984"/>
                  </a:avLst>
                </a:prstGeom>
                <a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571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0"/>
                    </a:spcAft>
                    <a:buClrTx/>
                    <a:buSzTx/>
                    <a:buFont typeface="MetricHPE" panose="020B0503030202060203" pitchFamily="34" charset="0"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Sécurisé</a:t>
                  </a:r>
                  <a:br>
                    <a:rPr kumimoji="0" lang="en-US" sz="3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</a:br>
                  <a:r>
                    <a:rPr lang="en-US" sz="2000">
                      <a:solidFill>
                        <a:prstClr val="white"/>
                      </a:solidFill>
                      <a:latin typeface="MetricHPE Light" panose="020B0303030202060203" pitchFamily="34" charset="77"/>
                      <a:sym typeface="MetricHPE" panose="020B0503030202060203" pitchFamily="34" charset="0"/>
                    </a:rPr>
                    <a:t>S</a:t>
                  </a:r>
                  <a:r>
                    <a:rPr kumimoji="0" lang="en-US" sz="20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écurisé</a:t>
                  </a: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 par design</a:t>
                  </a:r>
                </a:p>
              </p:txBody>
            </p:sp>
            <p:sp>
              <p:nvSpPr>
                <p:cNvPr id="3" name="Rounded Rectangle 2">
                  <a:extLst>
                    <a:ext uri="{FF2B5EF4-FFF2-40B4-BE49-F238E27FC236}">
                      <a16:creationId xmlns:a16="http://schemas.microsoft.com/office/drawing/2014/main" id="{A85FD544-A990-F8E2-EC22-9BD9E0F3A145}"/>
                    </a:ext>
                  </a:extLst>
                </p:cNvPr>
                <p:cNvSpPr/>
                <p:nvPr/>
              </p:nvSpPr>
              <p:spPr bwMode="ltGray">
                <a:xfrm>
                  <a:off x="8800617" y="4295322"/>
                  <a:ext cx="3605573" cy="1504065"/>
                </a:xfrm>
                <a:prstGeom prst="roundRect">
                  <a:avLst>
                    <a:gd name="adj" fmla="val 8968"/>
                  </a:avLst>
                </a:prstGeom>
                <a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571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0"/>
                    </a:spcAft>
                    <a:buClrTx/>
                    <a:buSzTx/>
                    <a:buFont typeface="MetricHPE" panose="020B0503030202060203" pitchFamily="34" charset="0"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Optimisé</a:t>
                  </a:r>
                  <a:br>
                    <a:rPr kumimoji="0" lang="en-US" sz="3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</a:b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performance </a:t>
                  </a:r>
                  <a:r>
                    <a:rPr kumimoji="0" lang="en-US" sz="20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adaptée</a:t>
                  </a: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 à </a:t>
                  </a:r>
                  <a:r>
                    <a:rPr kumimoji="0" lang="en-US" sz="20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vos</a:t>
                  </a: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 workloads</a:t>
                  </a:r>
                  <a:endPara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 panose="020B0503030202060203" pitchFamily="34" charset="77"/>
                    <a:ea typeface="+mn-ea"/>
                    <a:cs typeface="+mn-cs"/>
                    <a:sym typeface="MetricHPE" panose="020B0503030202060203" pitchFamily="34" charset="0"/>
                  </a:endParaRPr>
                </a:p>
              </p:txBody>
            </p:sp>
            <p:sp>
              <p:nvSpPr>
                <p:cNvPr id="4" name="Rounded Rectangle 3">
                  <a:extLst>
                    <a:ext uri="{FF2B5EF4-FFF2-40B4-BE49-F238E27FC236}">
                      <a16:creationId xmlns:a16="http://schemas.microsoft.com/office/drawing/2014/main" id="{B6824A2E-5624-AE6D-8310-C2FFB605B355}"/>
                    </a:ext>
                  </a:extLst>
                </p:cNvPr>
                <p:cNvSpPr/>
                <p:nvPr/>
              </p:nvSpPr>
              <p:spPr bwMode="ltGray">
                <a:xfrm>
                  <a:off x="1300585" y="4295321"/>
                  <a:ext cx="3605574" cy="1504065"/>
                </a:xfrm>
                <a:prstGeom prst="roundRect">
                  <a:avLst>
                    <a:gd name="adj" fmla="val 10029"/>
                  </a:avLst>
                </a:prstGeom>
                <a:blipFill>
                  <a:blip r:embed="rId9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571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Intuitif</a:t>
                  </a:r>
                  <a:br>
                    <a:rPr kumimoji="0" lang="en-US" sz="3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</a:b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cloud </a:t>
                  </a:r>
                  <a:r>
                    <a:rPr kumimoji="0" lang="en-US" sz="20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opération</a:t>
                  </a: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 experience</a:t>
                  </a:r>
                </a:p>
              </p:txBody>
            </p:sp>
          </p:grp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5AE9107-EEA4-E6B9-5490-A6F17B22F67E}"/>
                  </a:ext>
                </a:extLst>
              </p:cNvPr>
              <p:cNvSpPr/>
              <p:nvPr/>
            </p:nvSpPr>
            <p:spPr>
              <a:xfrm>
                <a:off x="458570" y="3740649"/>
                <a:ext cx="7294375" cy="4862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>
                  <a:lnSpc>
                    <a:spcPct val="80000"/>
                  </a:lnSpc>
                  <a:defRPr/>
                </a:pPr>
                <a:r>
                  <a:rPr lang="en-US" sz="3200" err="1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conçus</a:t>
                </a:r>
                <a:r>
                  <a:rPr lang="en-US" sz="3200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 pour </a:t>
                </a:r>
                <a:r>
                  <a:rPr lang="en-US" sz="3200" err="1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une</a:t>
                </a:r>
                <a:r>
                  <a:rPr lang="en-US" sz="3200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 </a:t>
                </a:r>
                <a:r>
                  <a:rPr lang="en-US" sz="3200" err="1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informatique</a:t>
                </a:r>
                <a:r>
                  <a:rPr lang="en-US" sz="3200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 </a:t>
                </a:r>
                <a:r>
                  <a:rPr lang="en-US" sz="3200" b="1" i="1" err="1">
                    <a:blipFill>
                      <a:blip r:embed="rId6"/>
                      <a:stretch>
                        <a:fillRect/>
                      </a:stretch>
                    </a:blipFill>
                  </a:rPr>
                  <a:t>Hybride</a:t>
                </a:r>
                <a:endParaRPr kumimoji="0" lang="en-US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BC0448B-2451-50CA-BC64-67766D0B02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10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10"/>
                </a:buBlip>
                <a:tabLst/>
                <a:defRPr/>
              </a:pPr>
              <a:t>5</a:t>
            </a:fld>
            <a:endParaRPr kumimoji="0" lang="en-US" sz="2000" b="0" i="0" u="none" strike="noStrike" kern="1200" cap="all" spc="0" normalizeH="0" baseline="1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E3B9AE8F-DC8D-CF83-C76A-8D19E12A6B7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3" t="35534" r="23639" b="28674"/>
          <a:stretch/>
        </p:blipFill>
        <p:spPr>
          <a:xfrm>
            <a:off x="5711418" y="-125781"/>
            <a:ext cx="6480582" cy="2406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04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 E" pathEditMode="relative" ptsTypes="">
                                      <p:cBhvr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CBD59C-BAF2-4ED7-A449-2565708A90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CBD59C-BAF2-4ED7-A449-2565708A90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D1C1D"/>
                </a:solidFill>
                <a:effectLst/>
                <a:uLnTx/>
                <a:uFillTx/>
                <a:latin typeface="MetricHPE Light" panose="020B0303030202060203" pitchFamily="34" charset="0"/>
                <a:ea typeface="+mn-ea"/>
                <a:cs typeface="+mn-cs"/>
                <a:sym typeface="MetricHPE" panose="020B0503030202060203" pitchFamily="34" charset="0"/>
              </a:rPr>
              <a:t>Confidential | Authorized HPE Partner Use Only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 Light" panose="020B03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C2219A1-F001-2DC5-6C68-ED55633FF9A7}"/>
              </a:ext>
            </a:extLst>
          </p:cNvPr>
          <p:cNvGrpSpPr/>
          <p:nvPr/>
        </p:nvGrpSpPr>
        <p:grpSpPr>
          <a:xfrm>
            <a:off x="370398" y="430803"/>
            <a:ext cx="11174630" cy="2775624"/>
            <a:chOff x="458570" y="2899581"/>
            <a:chExt cx="11174630" cy="277562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DF18890-3226-329C-916C-3265DA1723C7}"/>
                </a:ext>
              </a:extLst>
            </p:cNvPr>
            <p:cNvSpPr/>
            <p:nvPr/>
          </p:nvSpPr>
          <p:spPr>
            <a:xfrm>
              <a:off x="458571" y="2899581"/>
              <a:ext cx="7141468" cy="9787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ProLiant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FE2AC34B-079B-AF9D-D136-F36914DCA55F}"/>
                </a:ext>
              </a:extLst>
            </p:cNvPr>
            <p:cNvGrpSpPr/>
            <p:nvPr/>
          </p:nvGrpSpPr>
          <p:grpSpPr>
            <a:xfrm>
              <a:off x="458570" y="3740649"/>
              <a:ext cx="11174630" cy="1934556"/>
              <a:chOff x="458570" y="3740649"/>
              <a:chExt cx="11174630" cy="1934556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BF53FBD4-4411-CFDC-506B-76A8C0712FE2}"/>
                  </a:ext>
                </a:extLst>
              </p:cNvPr>
              <p:cNvGrpSpPr/>
              <p:nvPr/>
            </p:nvGrpSpPr>
            <p:grpSpPr>
              <a:xfrm>
                <a:off x="509371" y="4460803"/>
                <a:ext cx="11123829" cy="1214402"/>
                <a:chOff x="1300585" y="4295321"/>
                <a:chExt cx="11105605" cy="1526037"/>
              </a:xfrm>
            </p:grpSpPr>
            <p:sp>
              <p:nvSpPr>
                <p:cNvPr id="2" name="Rounded Rectangle 1">
                  <a:extLst>
                    <a:ext uri="{FF2B5EF4-FFF2-40B4-BE49-F238E27FC236}">
                      <a16:creationId xmlns:a16="http://schemas.microsoft.com/office/drawing/2014/main" id="{5A8D9CB5-D8A9-0EA8-1C06-71C3A2EC5C55}"/>
                    </a:ext>
                  </a:extLst>
                </p:cNvPr>
                <p:cNvSpPr/>
                <p:nvPr/>
              </p:nvSpPr>
              <p:spPr bwMode="ltGray">
                <a:xfrm>
                  <a:off x="5050601" y="4295321"/>
                  <a:ext cx="3605574" cy="1526037"/>
                </a:xfrm>
                <a:prstGeom prst="roundRect">
                  <a:avLst>
                    <a:gd name="adj" fmla="val 10984"/>
                  </a:avLst>
                </a:prstGeom>
                <a:blipFill>
                  <a:blip r:embed="rId6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571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0"/>
                    </a:spcAft>
                    <a:buClrTx/>
                    <a:buSzTx/>
                    <a:buFont typeface="MetricHPE" panose="020B0503030202060203" pitchFamily="34" charset="0"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Sécurisé</a:t>
                  </a:r>
                  <a:br>
                    <a:rPr kumimoji="0" lang="en-US" sz="3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</a:br>
                  <a:r>
                    <a:rPr lang="en-US" sz="2000">
                      <a:solidFill>
                        <a:prstClr val="white"/>
                      </a:solidFill>
                      <a:latin typeface="MetricHPE Light" panose="020B0303030202060203" pitchFamily="34" charset="77"/>
                      <a:sym typeface="MetricHPE" panose="020B0503030202060203" pitchFamily="34" charset="0"/>
                    </a:rPr>
                    <a:t>S</a:t>
                  </a:r>
                  <a:r>
                    <a:rPr kumimoji="0" lang="en-US" sz="20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écurisé</a:t>
                  </a: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 par design</a:t>
                  </a:r>
                </a:p>
              </p:txBody>
            </p:sp>
            <p:sp>
              <p:nvSpPr>
                <p:cNvPr id="3" name="Rounded Rectangle 2">
                  <a:extLst>
                    <a:ext uri="{FF2B5EF4-FFF2-40B4-BE49-F238E27FC236}">
                      <a16:creationId xmlns:a16="http://schemas.microsoft.com/office/drawing/2014/main" id="{A85FD544-A990-F8E2-EC22-9BD9E0F3A145}"/>
                    </a:ext>
                  </a:extLst>
                </p:cNvPr>
                <p:cNvSpPr/>
                <p:nvPr/>
              </p:nvSpPr>
              <p:spPr bwMode="ltGray">
                <a:xfrm>
                  <a:off x="8800617" y="4295322"/>
                  <a:ext cx="3605573" cy="1504065"/>
                </a:xfrm>
                <a:prstGeom prst="roundRect">
                  <a:avLst>
                    <a:gd name="adj" fmla="val 8968"/>
                  </a:avLst>
                </a:prstGeom>
                <a:blipFill>
                  <a:blip r:embed="rId7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571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0"/>
                    </a:spcAft>
                    <a:buClrTx/>
                    <a:buSzTx/>
                    <a:buFont typeface="MetricHPE" panose="020B0503030202060203" pitchFamily="34" charset="0"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Optimisé</a:t>
                  </a:r>
                  <a:br>
                    <a:rPr kumimoji="0" lang="en-US" sz="3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</a:b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performance </a:t>
                  </a:r>
                  <a:r>
                    <a:rPr kumimoji="0" lang="en-US" sz="20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adaptée</a:t>
                  </a: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 à </a:t>
                  </a:r>
                  <a:r>
                    <a:rPr kumimoji="0" lang="en-US" sz="20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vos</a:t>
                  </a: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 workloads</a:t>
                  </a:r>
                  <a:endParaRPr kumimoji="0" lang="en-US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MetricHPE" panose="020B0503030202060203" pitchFamily="34" charset="77"/>
                    <a:ea typeface="+mn-ea"/>
                    <a:cs typeface="+mn-cs"/>
                    <a:sym typeface="MetricHPE" panose="020B0503030202060203" pitchFamily="34" charset="0"/>
                  </a:endParaRPr>
                </a:p>
              </p:txBody>
            </p:sp>
            <p:sp>
              <p:nvSpPr>
                <p:cNvPr id="4" name="Rounded Rectangle 3">
                  <a:extLst>
                    <a:ext uri="{FF2B5EF4-FFF2-40B4-BE49-F238E27FC236}">
                      <a16:creationId xmlns:a16="http://schemas.microsoft.com/office/drawing/2014/main" id="{B6824A2E-5624-AE6D-8310-C2FFB605B355}"/>
                    </a:ext>
                  </a:extLst>
                </p:cNvPr>
                <p:cNvSpPr/>
                <p:nvPr/>
              </p:nvSpPr>
              <p:spPr bwMode="ltGray">
                <a:xfrm>
                  <a:off x="1300585" y="4295321"/>
                  <a:ext cx="3605574" cy="1504065"/>
                </a:xfrm>
                <a:prstGeom prst="roundRect">
                  <a:avLst>
                    <a:gd name="adj" fmla="val 10029"/>
                  </a:avLst>
                </a:prstGeom>
                <a:blipFill>
                  <a:blip r:embed="rId8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 w="571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91440" bIns="9144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90000"/>
                    </a:lnSpc>
                    <a:spcBef>
                      <a:spcPts val="4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200" b="1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Intuitif</a:t>
                  </a:r>
                  <a:br>
                    <a:rPr kumimoji="0" lang="en-US" sz="3200" b="1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" panose="020B05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</a:b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cloud </a:t>
                  </a:r>
                  <a:r>
                    <a:rPr kumimoji="0" lang="en-US" sz="2000" b="0" i="0" u="none" strike="noStrike" kern="1200" cap="none" spc="0" normalizeH="0" baseline="0" noProof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opération</a:t>
                  </a:r>
                  <a:r>
                    <a:rPr kumimoji="0" lang="en-US" sz="20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MetricHPE Light" panose="020B0303030202060203" pitchFamily="34" charset="77"/>
                      <a:ea typeface="+mn-ea"/>
                      <a:cs typeface="+mn-cs"/>
                      <a:sym typeface="MetricHPE" panose="020B0503030202060203" pitchFamily="34" charset="0"/>
                    </a:rPr>
                    <a:t> experience</a:t>
                  </a:r>
                </a:p>
              </p:txBody>
            </p:sp>
          </p:grp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5AE9107-EEA4-E6B9-5490-A6F17B22F67E}"/>
                  </a:ext>
                </a:extLst>
              </p:cNvPr>
              <p:cNvSpPr/>
              <p:nvPr/>
            </p:nvSpPr>
            <p:spPr>
              <a:xfrm>
                <a:off x="458570" y="3740649"/>
                <a:ext cx="7294375" cy="4862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>
                  <a:lnSpc>
                    <a:spcPct val="80000"/>
                  </a:lnSpc>
                  <a:defRPr/>
                </a:pPr>
                <a:r>
                  <a:rPr lang="en-US" sz="3200" err="1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conçus</a:t>
                </a:r>
                <a:r>
                  <a:rPr lang="en-US" sz="3200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 pour </a:t>
                </a:r>
                <a:r>
                  <a:rPr lang="en-US" sz="3200" err="1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une</a:t>
                </a:r>
                <a:r>
                  <a:rPr lang="en-US" sz="3200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 </a:t>
                </a:r>
                <a:r>
                  <a:rPr lang="en-US" sz="3200" err="1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informatique</a:t>
                </a:r>
                <a:r>
                  <a:rPr lang="en-US" sz="3200">
                    <a:solidFill>
                      <a:prstClr val="black"/>
                    </a:solidFill>
                    <a:latin typeface="MetricHPE Light" panose="020B0303030202060203" pitchFamily="34" charset="77"/>
                  </a:rPr>
                  <a:t> </a:t>
                </a:r>
                <a:r>
                  <a:rPr lang="en-US" sz="3200" b="1" i="1" err="1">
                    <a:blipFill>
                      <a:blip r:embed="rId9"/>
                      <a:stretch>
                        <a:fillRect/>
                      </a:stretch>
                    </a:blipFill>
                  </a:rPr>
                  <a:t>Hybride</a:t>
                </a:r>
                <a:endParaRPr kumimoji="0" lang="en-US" sz="3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 Light" panose="020B0303030202060203" pitchFamily="34" charset="77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8BC0448B-2451-50CA-BC64-67766D0B02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205699" marR="0" lvl="0" indent="-205699" algn="l" defTabSz="1088421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Blip>
                <a:blip r:embed="rId10"/>
              </a:buBlip>
              <a:tabLst/>
              <a:defRPr/>
            </a:pPr>
            <a:fld id="{104FC826-72BB-4AF1-BA01-A94F7396A7DC}" type="slidenum">
              <a:rPr kumimoji="0" lang="en-US" sz="2000" b="0" i="0" u="none" strike="noStrike" kern="1200" cap="all" spc="0" normalizeH="0" baseline="1000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 panose="020B0503030202060203" pitchFamily="34" charset="0"/>
                <a:ea typeface="+mn-ea"/>
                <a:cs typeface="+mn-cs"/>
                <a:sym typeface="MetricHPE" panose="020B0503030202060203" pitchFamily="34" charset="0"/>
              </a:rPr>
              <a:pPr marL="205699" marR="0" lvl="0" indent="-205699" algn="l" defTabSz="1088421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20000"/>
                <a:buFontTx/>
                <a:buBlip>
                  <a:blip r:embed="rId10"/>
                </a:buBlip>
                <a:tabLst/>
                <a:defRPr/>
              </a:pPr>
              <a:t>6</a:t>
            </a:fld>
            <a:endParaRPr kumimoji="0" lang="en-US" sz="2000" b="0" i="0" u="none" strike="noStrike" kern="1200" cap="all" spc="0" normalizeH="0" baseline="1000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 panose="020B0503030202060203" pitchFamily="34" charset="0"/>
              <a:ea typeface="+mn-ea"/>
              <a:cs typeface="+mn-cs"/>
              <a:sym typeface="MetricHPE" panose="020B0503030202060203" pitchFamily="34" charset="0"/>
            </a:endParaRPr>
          </a:p>
        </p:txBody>
      </p:sp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E3B9AE8F-DC8D-CF83-C76A-8D19E12A6B7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3" t="35534" r="23639" b="28674"/>
          <a:stretch/>
        </p:blipFill>
        <p:spPr>
          <a:xfrm>
            <a:off x="5711418" y="-125781"/>
            <a:ext cx="6480582" cy="2406110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544163D7-BFE4-1340-C6E7-03D3CBAD71A9}"/>
              </a:ext>
            </a:extLst>
          </p:cNvPr>
          <p:cNvGrpSpPr/>
          <p:nvPr/>
        </p:nvGrpSpPr>
        <p:grpSpPr>
          <a:xfrm>
            <a:off x="470061" y="3431307"/>
            <a:ext cx="3608561" cy="2776704"/>
            <a:chOff x="470061" y="3431307"/>
            <a:chExt cx="3608561" cy="277670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0849B6A-BBCA-8FA2-E931-E5D2B346C1C4}"/>
                </a:ext>
              </a:extLst>
            </p:cNvPr>
            <p:cNvSpPr/>
            <p:nvPr/>
          </p:nvSpPr>
          <p:spPr>
            <a:xfrm>
              <a:off x="470061" y="3431307"/>
              <a:ext cx="3608561" cy="1327787"/>
            </a:xfrm>
            <a:prstGeom prst="rect">
              <a:avLst/>
            </a:prstGeom>
            <a:ln w="19050">
              <a:solidFill>
                <a:schemeClr val="accent3"/>
              </a:solidFill>
            </a:ln>
          </p:spPr>
          <p:txBody>
            <a:bodyPr wrap="square" tIns="90000" bIns="90000">
              <a:no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sz="1600" err="1">
                  <a:solidFill>
                    <a:prstClr val="black"/>
                  </a:solidFill>
                  <a:latin typeface="MetricHPE" panose="020B0503030202060203" pitchFamily="34" charset="0"/>
                </a:rPr>
                <a:t>Ouvert</a:t>
              </a:r>
              <a: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  <a:t> (API Rest)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en-US" sz="1600" err="1">
                  <a:solidFill>
                    <a:prstClr val="black"/>
                  </a:solidFill>
                  <a:latin typeface="MetricHPE" panose="020B0503030202060203" pitchFamily="34" charset="0"/>
                </a:rPr>
                <a:t>Automatisation</a:t>
              </a:r>
              <a: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  <a:t> (config, mise a jour FW,…)</a:t>
              </a:r>
              <a:b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fr-FR" sz="1600">
                  <a:solidFill>
                    <a:prstClr val="black"/>
                  </a:solidFill>
                  <a:latin typeface="MetricHPE" panose="020B0503030202060203" pitchFamily="34" charset="0"/>
                </a:rPr>
                <a:t>Politique de conformité des </a:t>
              </a:r>
              <a:r>
                <a:rPr lang="fr-FR" sz="1600" err="1">
                  <a:solidFill>
                    <a:prstClr val="black"/>
                  </a:solidFill>
                  <a:latin typeface="MetricHPE" panose="020B0503030202060203" pitchFamily="34" charset="0"/>
                </a:rPr>
                <a:t>firmwares</a:t>
              </a:r>
              <a:br>
                <a:rPr lang="fr-FR" sz="160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fr-FR" sz="1600">
                  <a:solidFill>
                    <a:prstClr val="black"/>
                  </a:solidFill>
                  <a:latin typeface="MetricHPE" panose="020B0503030202060203" pitchFamily="34" charset="0"/>
                </a:rPr>
                <a:t>Suivi Conso Watt et Carbon Foot </a:t>
              </a:r>
              <a:r>
                <a:rPr lang="fr-FR" sz="1600" err="1">
                  <a:solidFill>
                    <a:prstClr val="black"/>
                  </a:solidFill>
                  <a:latin typeface="MetricHPE" panose="020B0503030202060203" pitchFamily="34" charset="0"/>
                </a:rPr>
                <a:t>Print</a:t>
              </a:r>
              <a:endParaRPr lang="en-US" sz="1600">
                <a:solidFill>
                  <a:prstClr val="black"/>
                </a:solidFill>
                <a:latin typeface="MetricHPE" panose="020B0503030202060203" pitchFamily="34" charset="0"/>
              </a:endParaRPr>
            </a:p>
            <a:p>
              <a:pPr algn="ctr">
                <a:lnSpc>
                  <a:spcPct val="80000"/>
                </a:lnSpc>
                <a:defRPr/>
              </a:pPr>
              <a:r>
                <a:rPr lang="en-US" sz="1600" b="1" err="1">
                  <a:solidFill>
                    <a:prstClr val="black"/>
                  </a:solidFill>
                  <a:latin typeface="MetricHPE" panose="020B0503030202060203" pitchFamily="34" charset="0"/>
                </a:rPr>
                <a:t>Ouvert</a:t>
              </a:r>
              <a:r>
                <a:rPr lang="en-US" sz="1600" b="1">
                  <a:solidFill>
                    <a:prstClr val="black"/>
                  </a:solidFill>
                  <a:latin typeface="MetricHPE" panose="020B0503030202060203" pitchFamily="34" charset="0"/>
                </a:rPr>
                <a:t> et </a:t>
              </a:r>
              <a:r>
                <a:rPr lang="en-US" sz="1600" b="1" err="1">
                  <a:solidFill>
                    <a:prstClr val="black"/>
                  </a:solidFill>
                  <a:latin typeface="MetricHPE" panose="020B0503030202060203" pitchFamily="34" charset="0"/>
                </a:rPr>
                <a:t>Intégré</a:t>
              </a:r>
              <a:r>
                <a:rPr lang="en-US" sz="1600" b="1">
                  <a:solidFill>
                    <a:prstClr val="black"/>
                  </a:solidFill>
                  <a:latin typeface="MetricHPE" panose="020B0503030202060203" pitchFamily="34" charset="0"/>
                </a:rPr>
                <a:t> avec </a:t>
              </a:r>
              <a:r>
                <a:rPr lang="en-US" sz="1600" b="1" err="1">
                  <a:solidFill>
                    <a:prstClr val="black"/>
                  </a:solidFill>
                  <a:latin typeface="MetricHPE" panose="020B0503030202060203" pitchFamily="34" charset="0"/>
                </a:rPr>
                <a:t>vos</a:t>
              </a:r>
              <a:r>
                <a:rPr lang="en-US" sz="1600" b="1">
                  <a:solidFill>
                    <a:prstClr val="black"/>
                  </a:solidFill>
                  <a:latin typeface="MetricHPE" panose="020B0503030202060203" pitchFamily="34" charset="0"/>
                </a:rPr>
                <a:t> </a:t>
              </a:r>
              <a:r>
                <a:rPr lang="en-US" sz="1600" b="1" err="1">
                  <a:solidFill>
                    <a:prstClr val="black"/>
                  </a:solidFill>
                  <a:latin typeface="MetricHPE" panose="020B0503030202060203" pitchFamily="34" charset="0"/>
                </a:rPr>
                <a:t>outils</a:t>
              </a:r>
              <a:r>
                <a:rPr lang="en-US" sz="1600" b="1">
                  <a:solidFill>
                    <a:prstClr val="black"/>
                  </a:solidFill>
                  <a:latin typeface="MetricHPE" panose="020B0503030202060203" pitchFamily="34" charset="0"/>
                </a:rPr>
                <a:t> </a:t>
              </a:r>
              <a:br>
                <a:rPr lang="en-US" sz="1600" b="1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en-US" sz="1600" b="1">
                  <a:solidFill>
                    <a:prstClr val="black"/>
                  </a:solidFill>
                  <a:latin typeface="MetricHPE" panose="020B0503030202060203" pitchFamily="34" charset="0"/>
                </a:rPr>
                <a:t>(vCenter, Ansible, …)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A88C84A-7313-7957-1251-EA37A0CB454A}"/>
                </a:ext>
              </a:extLst>
            </p:cNvPr>
            <p:cNvSpPr/>
            <p:nvPr/>
          </p:nvSpPr>
          <p:spPr>
            <a:xfrm>
              <a:off x="1081880" y="4859383"/>
              <a:ext cx="2994673" cy="506704"/>
            </a:xfrm>
            <a:prstGeom prst="rect">
              <a:avLst/>
            </a:prstGeom>
            <a:ln w="19050">
              <a:solidFill>
                <a:schemeClr val="accent3"/>
              </a:solidFill>
            </a:ln>
          </p:spPr>
          <p:txBody>
            <a:bodyPr wrap="square" tIns="90000" bIns="90000">
              <a:no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  <a:t>Sur Site : HPE </a:t>
              </a:r>
              <a:r>
                <a:rPr lang="en-US" sz="1600" err="1">
                  <a:solidFill>
                    <a:prstClr val="black"/>
                  </a:solidFill>
                  <a:latin typeface="MetricHPE" panose="020B0503030202060203" pitchFamily="34" charset="0"/>
                </a:rPr>
                <a:t>Oneview</a:t>
              </a:r>
              <a:endParaRPr lang="en-US" sz="160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4753496-2A7C-51EE-4462-CEA5F668E929}"/>
                </a:ext>
              </a:extLst>
            </p:cNvPr>
            <p:cNvSpPr/>
            <p:nvPr/>
          </p:nvSpPr>
          <p:spPr>
            <a:xfrm>
              <a:off x="1117615" y="5468982"/>
              <a:ext cx="2958938" cy="739029"/>
            </a:xfrm>
            <a:prstGeom prst="rect">
              <a:avLst/>
            </a:prstGeom>
            <a:ln w="19050">
              <a:solidFill>
                <a:schemeClr val="accent3"/>
              </a:solidFill>
            </a:ln>
          </p:spPr>
          <p:txBody>
            <a:bodyPr wrap="square" tIns="90000" bIns="90000">
              <a:no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sz="1400" b="1" dirty="0">
                  <a:solidFill>
                    <a:prstClr val="black"/>
                  </a:solidFill>
                  <a:latin typeface="MetricHPE" panose="020B0503030202060203" pitchFamily="34" charset="0"/>
                </a:rPr>
                <a:t>SaaS : HPE </a:t>
              </a:r>
              <a:r>
                <a:rPr lang="en-US" sz="1400" b="1" dirty="0" err="1">
                  <a:solidFill>
                    <a:prstClr val="black"/>
                  </a:solidFill>
                  <a:latin typeface="MetricHPE" panose="020B0503030202060203" pitchFamily="34" charset="0"/>
                </a:rPr>
                <a:t>Greenlake</a:t>
              </a:r>
              <a:r>
                <a:rPr lang="en-US" sz="1400" b="1" dirty="0">
                  <a:solidFill>
                    <a:prstClr val="black"/>
                  </a:solidFill>
                  <a:latin typeface="MetricHPE" panose="020B0503030202060203" pitchFamily="34" charset="0"/>
                </a:rPr>
                <a:t> for Comp Ops </a:t>
              </a:r>
              <a:br>
                <a:rPr lang="en-US" sz="14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en-US" sz="1400" dirty="0">
                  <a:solidFill>
                    <a:prstClr val="black"/>
                  </a:solidFill>
                  <a:latin typeface="MetricHPE" panose="020B0503030202060203" pitchFamily="34" charset="0"/>
                </a:rPr>
                <a:t>mise à jour </a:t>
              </a:r>
              <a:r>
                <a:rPr lang="en-US" sz="1400" dirty="0" err="1">
                  <a:solidFill>
                    <a:prstClr val="black"/>
                  </a:solidFill>
                  <a:latin typeface="MetricHPE" panose="020B0503030202060203" pitchFamily="34" charset="0"/>
                </a:rPr>
                <a:t>en</a:t>
              </a:r>
              <a:r>
                <a:rPr lang="en-US" sz="1400" dirty="0">
                  <a:solidFill>
                    <a:prstClr val="black"/>
                  </a:solidFill>
                  <a:latin typeface="MetricHPE" panose="020B0503030202060203" pitchFamily="34" charset="0"/>
                </a:rPr>
                <a:t> temps reel</a:t>
              </a:r>
              <a:br>
                <a:rPr lang="en-US" sz="14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en-US" sz="1400" dirty="0" err="1">
                  <a:solidFill>
                    <a:prstClr val="black"/>
                  </a:solidFill>
                  <a:latin typeface="MetricHPE" panose="020B0503030202060203" pitchFamily="34" charset="0"/>
                </a:rPr>
                <a:t>Unifié</a:t>
              </a:r>
              <a:r>
                <a:rPr lang="en-US" sz="1400" dirty="0">
                  <a:solidFill>
                    <a:prstClr val="black"/>
                  </a:solidFill>
                  <a:latin typeface="MetricHPE" panose="020B0503030202060203" pitchFamily="34" charset="0"/>
                </a:rPr>
                <a:t> / </a:t>
              </a:r>
              <a:r>
                <a:rPr lang="en-US" sz="1400" dirty="0" err="1">
                  <a:solidFill>
                    <a:prstClr val="black"/>
                  </a:solidFill>
                  <a:latin typeface="MetricHPE" panose="020B0503030202060203" pitchFamily="34" charset="0"/>
                </a:rPr>
                <a:t>Multisites</a:t>
              </a:r>
              <a:br>
                <a:rPr lang="en-US" sz="14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endParaRPr lang="en-US" sz="1400"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5099D8F-36E2-8E01-3B29-2E7AB1EA2EF4}"/>
                </a:ext>
              </a:extLst>
            </p:cNvPr>
            <p:cNvSpPr/>
            <p:nvPr/>
          </p:nvSpPr>
          <p:spPr>
            <a:xfrm>
              <a:off x="470061" y="4859382"/>
              <a:ext cx="484191" cy="1348629"/>
            </a:xfrm>
            <a:prstGeom prst="rect">
              <a:avLst/>
            </a:prstGeom>
            <a:ln w="19050">
              <a:solidFill>
                <a:schemeClr val="accent3"/>
              </a:solidFill>
            </a:ln>
          </p:spPr>
          <p:txBody>
            <a:bodyPr vert="vert270" wrap="square" tIns="90000" bIns="90000">
              <a:no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sz="1400">
                  <a:solidFill>
                    <a:prstClr val="black"/>
                  </a:solidFill>
                  <a:latin typeface="MetricHPE" panose="020B0503030202060203" pitchFamily="34" charset="0"/>
                </a:rPr>
                <a:t>Console </a:t>
              </a:r>
              <a:r>
                <a:rPr lang="en-US" sz="1400" err="1">
                  <a:solidFill>
                    <a:prstClr val="black"/>
                  </a:solidFill>
                  <a:latin typeface="MetricHPE" panose="020B0503030202060203" pitchFamily="34" charset="0"/>
                </a:rPr>
                <a:t>d’admin</a:t>
              </a:r>
              <a:br>
                <a:rPr lang="en-US" sz="140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en-US" sz="1400">
                  <a:solidFill>
                    <a:prstClr val="black"/>
                  </a:solidFill>
                  <a:latin typeface="MetricHPE" panose="020B0503030202060203" pitchFamily="34" charset="0"/>
                </a:rPr>
                <a:t>Aux Choix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7FD6AE7-FA88-93C0-BC4A-1519ED0A6186}"/>
              </a:ext>
            </a:extLst>
          </p:cNvPr>
          <p:cNvGrpSpPr/>
          <p:nvPr/>
        </p:nvGrpSpPr>
        <p:grpSpPr>
          <a:xfrm>
            <a:off x="4226231" y="3429000"/>
            <a:ext cx="3600000" cy="2779011"/>
            <a:chOff x="4226231" y="3429000"/>
            <a:chExt cx="3600000" cy="277901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3AC6421F-E380-9E79-3415-97B694FF697E}"/>
                </a:ext>
              </a:extLst>
            </p:cNvPr>
            <p:cNvSpPr/>
            <p:nvPr/>
          </p:nvSpPr>
          <p:spPr>
            <a:xfrm>
              <a:off x="4226231" y="3429000"/>
              <a:ext cx="3600000" cy="1587544"/>
            </a:xfrm>
            <a:prstGeom prst="rect">
              <a:avLst/>
            </a:prstGeom>
            <a:ln w="19050">
              <a:solidFill>
                <a:srgbClr val="01A982"/>
              </a:solidFill>
            </a:ln>
          </p:spPr>
          <p:txBody>
            <a:bodyPr wrap="square" tIns="90000" bIns="90000">
              <a:no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MetricHPE" panose="020B0503030202060203" pitchFamily="34" charset="0"/>
                </a:rPr>
                <a:t>HPE Silicon root of Trust</a:t>
              </a:r>
              <a:br>
                <a:rPr lang="en-US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en-US" sz="1600" dirty="0" err="1">
                  <a:solidFill>
                    <a:prstClr val="black"/>
                  </a:solidFill>
                  <a:latin typeface="MetricHPE" panose="020B0503030202060203" pitchFamily="34" charset="0"/>
                </a:rPr>
                <a:t>depuis</a:t>
              </a:r>
              <a:r>
                <a:rPr lang="en-US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  <a:t> ILO5 (Gen10)</a:t>
              </a:r>
              <a:br>
                <a:rPr lang="en-US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en-US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  <a:t>Chip et FW ILO </a:t>
              </a:r>
              <a:r>
                <a:rPr lang="en-US" sz="1600" dirty="0" err="1">
                  <a:solidFill>
                    <a:prstClr val="black"/>
                  </a:solidFill>
                  <a:latin typeface="MetricHPE" panose="020B0503030202060203" pitchFamily="34" charset="0"/>
                </a:rPr>
                <a:t>Signé</a:t>
              </a:r>
              <a:br>
                <a:rPr lang="en-US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br>
                <a:rPr lang="en-US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en-US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  <a:t>ILO6 : </a:t>
              </a:r>
              <a:br>
                <a:rPr lang="en-US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fr-FR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  <a:t>Extension aux autres composants (SPDM)</a:t>
              </a:r>
              <a:br>
                <a:rPr lang="fr-FR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fr-FR" sz="1600" dirty="0">
                  <a:solidFill>
                    <a:prstClr val="black"/>
                  </a:solidFill>
                  <a:latin typeface="MetricHPE" panose="020B0503030202060203" pitchFamily="34" charset="0"/>
                </a:rPr>
                <a:t>Chiffrement AES-256</a:t>
              </a:r>
            </a:p>
            <a:p>
              <a:pPr algn="ctr">
                <a:lnSpc>
                  <a:spcPct val="80000"/>
                </a:lnSpc>
                <a:defRPr/>
              </a:pPr>
              <a:endParaRPr lang="en-US" sz="1600" dirty="0">
                <a:solidFill>
                  <a:prstClr val="black"/>
                </a:solidFill>
                <a:latin typeface="MetricHPE" panose="020B0503030202060203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F9F4772-BD25-CC76-A568-EC7446664DB9}"/>
                </a:ext>
              </a:extLst>
            </p:cNvPr>
            <p:cNvSpPr/>
            <p:nvPr/>
          </p:nvSpPr>
          <p:spPr>
            <a:xfrm>
              <a:off x="4232723" y="5124274"/>
              <a:ext cx="3588509" cy="506704"/>
            </a:xfrm>
            <a:prstGeom prst="rect">
              <a:avLst/>
            </a:prstGeom>
            <a:ln w="19050">
              <a:solidFill>
                <a:srgbClr val="01A982"/>
              </a:solidFill>
            </a:ln>
          </p:spPr>
          <p:txBody>
            <a:bodyPr wrap="square" tIns="90000" bIns="90000">
              <a:no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sz="1600" err="1">
                  <a:solidFill>
                    <a:prstClr val="black"/>
                  </a:solidFill>
                  <a:latin typeface="MetricHPE" panose="020B0503030202060203" pitchFamily="34" charset="0"/>
                </a:rPr>
                <a:t>Certificats</a:t>
              </a:r>
              <a: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  <a:t> </a:t>
              </a:r>
              <a:r>
                <a:rPr lang="en-US" sz="1600" err="1">
                  <a:solidFill>
                    <a:prstClr val="black"/>
                  </a:solidFill>
                  <a:latin typeface="MetricHPE" panose="020B0503030202060203" pitchFamily="34" charset="0"/>
                </a:rPr>
                <a:t>Serveurs</a:t>
              </a:r>
              <a: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  <a:t> / Secure Device Identity (</a:t>
              </a:r>
              <a:r>
                <a:rPr lang="en-US" sz="1600" err="1">
                  <a:solidFill>
                    <a:prstClr val="black"/>
                  </a:solidFill>
                  <a:latin typeface="MetricHPE" panose="020B0503030202060203" pitchFamily="34" charset="0"/>
                </a:rPr>
                <a:t>iDevID</a:t>
              </a:r>
              <a: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  <a:t>)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5B0E7B4-56D3-2007-6C4C-530A6A65C6F4}"/>
                </a:ext>
              </a:extLst>
            </p:cNvPr>
            <p:cNvSpPr/>
            <p:nvPr/>
          </p:nvSpPr>
          <p:spPr>
            <a:xfrm>
              <a:off x="4226231" y="5713080"/>
              <a:ext cx="3600000" cy="494931"/>
            </a:xfrm>
            <a:prstGeom prst="rect">
              <a:avLst/>
            </a:prstGeom>
            <a:ln w="19050">
              <a:solidFill>
                <a:srgbClr val="01A982"/>
              </a:solidFill>
            </a:ln>
          </p:spPr>
          <p:txBody>
            <a:bodyPr wrap="square" tIns="90000" bIns="90000">
              <a:no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  <a:t>HPE Trusted Supply Chain</a:t>
              </a:r>
              <a:b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</a:br>
              <a:r>
                <a:rPr lang="en-US" sz="1600">
                  <a:solidFill>
                    <a:prstClr val="black"/>
                  </a:solidFill>
                  <a:latin typeface="MetricHPE" panose="020B0503030202060203" pitchFamily="34" charset="0"/>
                </a:rPr>
                <a:t>Security Services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B6BA6A8-57DE-F7D4-9382-73CA982C9873}"/>
              </a:ext>
            </a:extLst>
          </p:cNvPr>
          <p:cNvGrpSpPr/>
          <p:nvPr/>
        </p:nvGrpSpPr>
        <p:grpSpPr>
          <a:xfrm>
            <a:off x="7970908" y="3436602"/>
            <a:ext cx="3592805" cy="2757846"/>
            <a:chOff x="7970908" y="3436602"/>
            <a:chExt cx="3592805" cy="275784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DF67E6C-FFAF-3818-0815-B551C8C4116B}"/>
                </a:ext>
              </a:extLst>
            </p:cNvPr>
            <p:cNvSpPr/>
            <p:nvPr/>
          </p:nvSpPr>
          <p:spPr>
            <a:xfrm>
              <a:off x="7970908" y="3436602"/>
              <a:ext cx="3574119" cy="635302"/>
            </a:xfrm>
            <a:prstGeom prst="rect">
              <a:avLst/>
            </a:prstGeom>
            <a:ln w="19050">
              <a:solidFill>
                <a:schemeClr val="accent5"/>
              </a:solidFill>
            </a:ln>
          </p:spPr>
          <p:txBody>
            <a:bodyPr wrap="square" tIns="90000" bIns="9000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Accélération des technologies </a:t>
              </a:r>
              <a:r>
                <a:rPr kumimoji="0" lang="fr-FR" sz="1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Open</a:t>
              </a: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 :</a:t>
              </a:r>
              <a:b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</a:br>
              <a:r>
                <a:rPr kumimoji="0" lang="fr-FR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Redfish</a:t>
              </a: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, </a:t>
              </a:r>
              <a:r>
                <a:rPr kumimoji="0" lang="fr-FR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OpenBMC</a:t>
              </a:r>
              <a:r>
                <a:rPr kumimoji="0" lang="fr-FR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 (New), OCP, ARM</a:t>
              </a: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3FF0C1D-B6A5-48CE-6774-5D210083F964}"/>
                </a:ext>
              </a:extLst>
            </p:cNvPr>
            <p:cNvSpPr/>
            <p:nvPr/>
          </p:nvSpPr>
          <p:spPr>
            <a:xfrm>
              <a:off x="7977402" y="4271359"/>
              <a:ext cx="3574119" cy="924520"/>
            </a:xfrm>
            <a:prstGeom prst="rect">
              <a:avLst/>
            </a:prstGeom>
            <a:ln w="19050">
              <a:solidFill>
                <a:schemeClr val="accent5"/>
              </a:solidFill>
            </a:ln>
          </p:spPr>
          <p:txBody>
            <a:bodyPr wrap="square" tIns="90000" bIns="90000">
              <a:noAutofit/>
            </a:bodyPr>
            <a:lstStyle/>
            <a:p>
              <a:pPr algn="ctr"/>
              <a:r>
                <a:rPr lang="en-US" sz="1600" dirty="0">
                  <a:solidFill>
                    <a:prstClr val="black"/>
                  </a:solidFill>
                  <a:latin typeface="MetricHPE"/>
                </a:rPr>
                <a:t>2x plus </a:t>
              </a:r>
              <a:r>
                <a:rPr lang="en-US" sz="1600" dirty="0" err="1">
                  <a:solidFill>
                    <a:prstClr val="black"/>
                  </a:solidFill>
                  <a:latin typeface="MetricHPE"/>
                </a:rPr>
                <a:t>d’I</a:t>
              </a:r>
              <a:r>
                <a:rPr lang="en-US" sz="1600" dirty="0">
                  <a:solidFill>
                    <a:prstClr val="black"/>
                  </a:solidFill>
                  <a:latin typeface="MetricHPE"/>
                </a:rPr>
                <a:t>/</a:t>
              </a:r>
              <a:r>
                <a:rPr lang="en-US" sz="1600" dirty="0" err="1">
                  <a:solidFill>
                    <a:prstClr val="black"/>
                  </a:solidFill>
                  <a:latin typeface="MetricHPE"/>
                </a:rPr>
                <a:t>Os</a:t>
              </a:r>
              <a:endParaRPr lang="en-US" sz="1600" dirty="0">
                <a:solidFill>
                  <a:prstClr val="black"/>
                </a:solidFill>
                <a:latin typeface="MetricHPE"/>
              </a:endParaRPr>
            </a:p>
            <a:p>
              <a:pPr algn="ctr"/>
              <a:r>
                <a:rPr lang="en-US" sz="1600" dirty="0">
                  <a:solidFill>
                    <a:prstClr val="black"/>
                  </a:solidFill>
                  <a:latin typeface="MetricHPE"/>
                </a:rPr>
                <a:t>+50% performances CPU</a:t>
              </a:r>
            </a:p>
            <a:p>
              <a:pPr algn="ctr"/>
              <a:r>
                <a:rPr lang="en-US" sz="1600" dirty="0">
                  <a:solidFill>
                    <a:prstClr val="black"/>
                  </a:solidFill>
                  <a:latin typeface="MetricHPE"/>
                </a:rPr>
                <a:t>+33% performances GPUs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C9C1CBB-7E76-7EF3-BF51-2A487BFDCE2A}"/>
                </a:ext>
              </a:extLst>
            </p:cNvPr>
            <p:cNvSpPr/>
            <p:nvPr/>
          </p:nvSpPr>
          <p:spPr>
            <a:xfrm>
              <a:off x="7989594" y="5413941"/>
              <a:ext cx="3574119" cy="780507"/>
            </a:xfrm>
            <a:prstGeom prst="rect">
              <a:avLst/>
            </a:prstGeom>
            <a:ln w="19050">
              <a:solidFill>
                <a:schemeClr val="accent5"/>
              </a:solidFill>
            </a:ln>
          </p:spPr>
          <p:txBody>
            <a:bodyPr wrap="square" tIns="90000" bIns="90000">
              <a:noAutofit/>
            </a:bodyPr>
            <a:lstStyle/>
            <a:p>
              <a:pPr algn="ctr"/>
              <a:r>
                <a:rPr lang="en-US" sz="1600" b="1" dirty="0" err="1">
                  <a:solidFill>
                    <a:prstClr val="black"/>
                  </a:solidFill>
                  <a:latin typeface="MetricHPE"/>
                </a:rPr>
                <a:t>Gammes</a:t>
              </a:r>
              <a:r>
                <a:rPr lang="en-US" sz="1600" b="1" dirty="0">
                  <a:solidFill>
                    <a:prstClr val="black"/>
                  </a:solidFill>
                  <a:latin typeface="MetricHPE"/>
                </a:rPr>
                <a:t> </a:t>
              </a:r>
              <a:r>
                <a:rPr lang="en-US" sz="1600" b="1" dirty="0" err="1">
                  <a:solidFill>
                    <a:prstClr val="black"/>
                  </a:solidFill>
                  <a:latin typeface="MetricHPE"/>
                </a:rPr>
                <a:t>Spécialisées</a:t>
              </a:r>
              <a:r>
                <a:rPr lang="en-US" sz="1600" b="1" dirty="0">
                  <a:solidFill>
                    <a:prstClr val="black"/>
                  </a:solidFill>
                  <a:latin typeface="MetricHPE"/>
                </a:rPr>
                <a:t> </a:t>
              </a:r>
              <a:r>
                <a:rPr lang="en-US" sz="1600" dirty="0">
                  <a:solidFill>
                    <a:prstClr val="black"/>
                  </a:solidFill>
                  <a:latin typeface="MetricHPE"/>
                </a:rPr>
                <a:t>par workload : </a:t>
              </a:r>
              <a:br>
                <a:rPr lang="en-US" sz="1600" dirty="0">
                  <a:solidFill>
                    <a:prstClr val="black"/>
                  </a:solidFill>
                  <a:latin typeface="MetricHPE"/>
                </a:rPr>
              </a:br>
              <a:r>
                <a:rPr lang="en-US" sz="1600" dirty="0">
                  <a:solidFill>
                    <a:prstClr val="black"/>
                  </a:solidFill>
                  <a:latin typeface="MetricHPE"/>
                </a:rPr>
                <a:t>HPC, Stockage, Edge, Composable,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16044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>
            <a:extLst>
              <a:ext uri="{FF2B5EF4-FFF2-40B4-BE49-F238E27FC236}">
                <a16:creationId xmlns:a16="http://schemas.microsoft.com/office/drawing/2014/main" id="{0B0F4F24-9920-43C7-A75B-FD3E2FFAD2F7}"/>
              </a:ext>
            </a:extLst>
          </p:cNvPr>
          <p:cNvSpPr txBox="1"/>
          <p:nvPr/>
        </p:nvSpPr>
        <p:spPr>
          <a:xfrm>
            <a:off x="5758463" y="2858921"/>
            <a:ext cx="715515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HB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D6C90B-6ED4-06D5-1B1F-057A70E6D3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81746" y="770832"/>
            <a:ext cx="11529254" cy="381000"/>
          </a:xfrm>
        </p:spPr>
        <p:txBody>
          <a:bodyPr/>
          <a:lstStyle/>
          <a:p>
            <a:r>
              <a:rPr lang="fr-FR"/>
              <a:t>De nombreuses innovations à tous les niveaux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es Nouvelles technologies Gen11</a:t>
            </a:r>
          </a:p>
        </p:txBody>
      </p:sp>
      <p:sp>
        <p:nvSpPr>
          <p:cNvPr id="27" name="Content Placeholder 3">
            <a:extLst>
              <a:ext uri="{FF2B5EF4-FFF2-40B4-BE49-F238E27FC236}">
                <a16:creationId xmlns:a16="http://schemas.microsoft.com/office/drawing/2014/main" id="{5D6DCC47-5BCD-45B1-BA1C-1BB7385CED3E}"/>
              </a:ext>
            </a:extLst>
          </p:cNvPr>
          <p:cNvSpPr txBox="1">
            <a:spLocks/>
          </p:cNvSpPr>
          <p:nvPr/>
        </p:nvSpPr>
        <p:spPr>
          <a:xfrm>
            <a:off x="7194901" y="1516846"/>
            <a:ext cx="4674745" cy="4112155"/>
          </a:xfrm>
          <a:prstGeom prst="rect">
            <a:avLst/>
          </a:prstGeom>
          <a:noFill/>
          <a:ln w="22225" cap="rnd">
            <a:gradFill flip="none" rotWithShape="1">
              <a:gsLst>
                <a:gs pos="0">
                  <a:srgbClr val="DC5183"/>
                </a:gs>
                <a:gs pos="100000">
                  <a:schemeClr val="accent3"/>
                </a:gs>
              </a:gsLst>
              <a:lin ang="0" scaled="1"/>
              <a:tileRect/>
            </a:gradFill>
            <a:prstDash val="solid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91440" rIns="91440" bIns="91440" rtlCol="0" anchor="t"/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r>
              <a:rPr lang="en-US" dirty="0" err="1">
                <a:solidFill>
                  <a:schemeClr val="tx1"/>
                </a:solidFill>
                <a:latin typeface="MetricHPE"/>
              </a:rPr>
              <a:t>Contrôleur</a:t>
            </a:r>
            <a:r>
              <a:rPr lang="en-US" dirty="0">
                <a:solidFill>
                  <a:schemeClr val="tx1"/>
                </a:solidFill>
                <a:latin typeface="MetricHPE"/>
              </a:rPr>
              <a:t> Boot M.2 Raid 1 NS204i </a:t>
            </a:r>
            <a:r>
              <a:rPr lang="en-US" b="1" dirty="0" err="1">
                <a:solidFill>
                  <a:schemeClr val="tx1"/>
                </a:solidFill>
                <a:latin typeface="MetricHPE"/>
              </a:rPr>
              <a:t>HotPlug</a:t>
            </a:r>
            <a:endParaRPr lang="en-US" b="1" dirty="0">
              <a:solidFill>
                <a:schemeClr val="tx1"/>
              </a:solidFill>
              <a:latin typeface="MetricHPE"/>
            </a:endParaRPr>
          </a:p>
          <a:p>
            <a:pPr marL="171450" indent="-171450" algn="l"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endParaRPr lang="en-US" b="1" dirty="0">
              <a:solidFill>
                <a:schemeClr val="tx1"/>
              </a:solidFill>
              <a:latin typeface="MetricHPE"/>
            </a:endParaRPr>
          </a:p>
          <a:p>
            <a:pPr algn="l">
              <a:spcBef>
                <a:spcPts val="500"/>
              </a:spcBef>
              <a:defRPr/>
            </a:pPr>
            <a:endParaRPr lang="en-US" dirty="0">
              <a:solidFill>
                <a:schemeClr val="tx1"/>
              </a:solidFill>
              <a:latin typeface="MetricHPE"/>
            </a:endParaRPr>
          </a:p>
          <a:p>
            <a:pPr marL="171450" indent="-171450" algn="l"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tx1"/>
              </a:solidFill>
              <a:latin typeface="MetricHPE"/>
            </a:endParaRPr>
          </a:p>
          <a:p>
            <a:pPr marL="171450" indent="-171450" algn="l"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tx1"/>
              </a:solidFill>
              <a:latin typeface="MetricHPE"/>
            </a:endParaRPr>
          </a:p>
          <a:p>
            <a:pPr marL="171450" indent="-171450" algn="l"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"/>
              </a:rPr>
              <a:t>4 </a:t>
            </a:r>
            <a:r>
              <a:rPr lang="en-US" b="1" dirty="0">
                <a:solidFill>
                  <a:schemeClr val="tx1"/>
                </a:solidFill>
                <a:latin typeface="MetricHPE"/>
              </a:rPr>
              <a:t>GPUs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"/>
              </a:rPr>
              <a:t> Double </a:t>
            </a:r>
            <a:r>
              <a:rPr lang="en-US" b="1" dirty="0">
                <a:solidFill>
                  <a:schemeClr val="tx1"/>
                </a:solidFill>
                <a:latin typeface="MetricHPE"/>
              </a:rPr>
              <a:t>Width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tricHPE"/>
              </a:rPr>
              <a:t> sur 2U (DL38X Gen11)</a:t>
            </a:r>
            <a:endParaRPr lang="en-US" dirty="0">
              <a:solidFill>
                <a:schemeClr val="tx1"/>
              </a:solidFill>
            </a:endParaRPr>
          </a:p>
          <a:p>
            <a:pPr marL="171450" indent="-171450" algn="l">
              <a:spcBef>
                <a:spcPts val="500"/>
              </a:spcBef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tx1"/>
              </a:solidFill>
              <a:latin typeface="MetricHPE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FB089D3-7804-42FE-BC61-7E9246AC53D5}"/>
              </a:ext>
            </a:extLst>
          </p:cNvPr>
          <p:cNvSpPr/>
          <p:nvPr/>
        </p:nvSpPr>
        <p:spPr bwMode="ltGray">
          <a:xfrm>
            <a:off x="7194900" y="1087274"/>
            <a:ext cx="4674746" cy="365423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MetricHPE"/>
              </a:rPr>
              <a:t>Et </a:t>
            </a:r>
            <a:r>
              <a:rPr lang="en-US" sz="2400" dirty="0" err="1">
                <a:solidFill>
                  <a:schemeClr val="bg1"/>
                </a:solidFill>
                <a:latin typeface="MetricHPE"/>
              </a:rPr>
              <a:t>en</a:t>
            </a:r>
            <a:r>
              <a:rPr lang="en-US" sz="2400" dirty="0">
                <a:solidFill>
                  <a:schemeClr val="bg1"/>
                </a:solidFill>
                <a:latin typeface="MetricHPE"/>
              </a:rPr>
              <a:t> plus... </a:t>
            </a:r>
            <a:r>
              <a:rPr lang="en-US" sz="2400" dirty="0" err="1">
                <a:solidFill>
                  <a:schemeClr val="bg1"/>
                </a:solidFill>
                <a:latin typeface="MetricHPE"/>
              </a:rPr>
              <a:t>nos</a:t>
            </a:r>
            <a:r>
              <a:rPr lang="en-US" sz="2400" dirty="0">
                <a:solidFill>
                  <a:schemeClr val="bg1"/>
                </a:solidFill>
                <a:latin typeface="MetricHPE"/>
              </a:rPr>
              <a:t> </a:t>
            </a:r>
            <a:r>
              <a:rPr lang="en-US" sz="2400" dirty="0" err="1">
                <a:solidFill>
                  <a:schemeClr val="bg1"/>
                </a:solidFill>
                <a:latin typeface="MetricHPE"/>
              </a:rPr>
              <a:t>nouveautés</a:t>
            </a:r>
            <a:r>
              <a:rPr lang="en-US" sz="2400" dirty="0">
                <a:solidFill>
                  <a:schemeClr val="bg1"/>
                </a:solidFill>
                <a:latin typeface="MetricHPE"/>
              </a:rPr>
              <a:t> HP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E6419C6-0CB9-4AD4-B852-B510253F5DC5}"/>
              </a:ext>
            </a:extLst>
          </p:cNvPr>
          <p:cNvSpPr txBox="1"/>
          <p:nvPr/>
        </p:nvSpPr>
        <p:spPr>
          <a:xfrm>
            <a:off x="4217391" y="2001385"/>
            <a:ext cx="1574790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          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Geno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5816164-09E6-4868-8AE7-4F61EBCE8AEF}"/>
              </a:ext>
            </a:extLst>
          </p:cNvPr>
          <p:cNvSpPr txBox="1"/>
          <p:nvPr/>
        </p:nvSpPr>
        <p:spPr>
          <a:xfrm>
            <a:off x="2524349" y="2757902"/>
            <a:ext cx="914461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     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DDR5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74C663-0B33-4D14-BB42-8C24A301F3B6}"/>
              </a:ext>
            </a:extLst>
          </p:cNvPr>
          <p:cNvSpPr txBox="1"/>
          <p:nvPr/>
        </p:nvSpPr>
        <p:spPr>
          <a:xfrm>
            <a:off x="4746468" y="3605602"/>
            <a:ext cx="1161303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     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EDSFF E3.s 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939079E-5A1A-42F0-8434-2AF53576EBFB}"/>
              </a:ext>
            </a:extLst>
          </p:cNvPr>
          <p:cNvSpPr txBox="1"/>
          <p:nvPr/>
        </p:nvSpPr>
        <p:spPr>
          <a:xfrm>
            <a:off x="2975941" y="3599774"/>
            <a:ext cx="1156773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     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Gen5 NVM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726CB4D-8587-473A-A409-DCA5BDBDA1CC}"/>
              </a:ext>
            </a:extLst>
          </p:cNvPr>
          <p:cNvSpPr txBox="1"/>
          <p:nvPr/>
        </p:nvSpPr>
        <p:spPr>
          <a:xfrm>
            <a:off x="2193532" y="4381974"/>
            <a:ext cx="986475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     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PCI Gen5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36D375-C41A-4770-BE7B-8112A9AFCA8C}"/>
              </a:ext>
            </a:extLst>
          </p:cNvPr>
          <p:cNvSpPr txBox="1"/>
          <p:nvPr/>
        </p:nvSpPr>
        <p:spPr>
          <a:xfrm>
            <a:off x="3806724" y="5052963"/>
            <a:ext cx="986475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400Gb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5CF995B-95B5-4DD4-A8EA-5AFB30CA60C7}"/>
              </a:ext>
            </a:extLst>
          </p:cNvPr>
          <p:cNvSpPr txBox="1"/>
          <p:nvPr/>
        </p:nvSpPr>
        <p:spPr>
          <a:xfrm>
            <a:off x="5811316" y="2000885"/>
            <a:ext cx="1383584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                  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Sapphire Rapid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D9383FA-26F1-491F-9EE5-2AAF3A583A84}"/>
              </a:ext>
            </a:extLst>
          </p:cNvPr>
          <p:cNvSpPr txBox="1"/>
          <p:nvPr/>
        </p:nvSpPr>
        <p:spPr>
          <a:xfrm>
            <a:off x="5362716" y="4323872"/>
            <a:ext cx="943316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     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CXL </a:t>
            </a:r>
          </a:p>
        </p:txBody>
      </p:sp>
      <p:pic>
        <p:nvPicPr>
          <p:cNvPr id="4" name="Picture 2" descr="Samsung produced a massive 512GB DDR5 RAM module! | Tech Society">
            <a:extLst>
              <a:ext uri="{FF2B5EF4-FFF2-40B4-BE49-F238E27FC236}">
                <a16:creationId xmlns:a16="http://schemas.microsoft.com/office/drawing/2014/main" id="{08EF82A0-1C81-534B-252F-38C1EE169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850" y="2783875"/>
            <a:ext cx="752572" cy="411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Placeholder 7">
            <a:extLst>
              <a:ext uri="{FF2B5EF4-FFF2-40B4-BE49-F238E27FC236}">
                <a16:creationId xmlns:a16="http://schemas.microsoft.com/office/drawing/2014/main" id="{E0C20378-8109-90B0-898C-005F9849EDC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28724" y="3729817"/>
            <a:ext cx="580347" cy="641922"/>
          </a:xfrm>
          <a:prstGeom prst="rect">
            <a:avLst/>
          </a:prstGeom>
          <a:noFill/>
        </p:spPr>
      </p:pic>
      <p:pic>
        <p:nvPicPr>
          <p:cNvPr id="7" name="Picture 7" descr="AMD Logo | Symbol, History, PNG (3840*2160)">
            <a:extLst>
              <a:ext uri="{FF2B5EF4-FFF2-40B4-BE49-F238E27FC236}">
                <a16:creationId xmlns:a16="http://schemas.microsoft.com/office/drawing/2014/main" id="{F7F663E3-830E-E2BA-5D80-F184CDC7C4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8955" y="1769824"/>
            <a:ext cx="629523" cy="352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50020E4-DFE7-185B-2A22-F2E8A703B2F3}"/>
              </a:ext>
            </a:extLst>
          </p:cNvPr>
          <p:cNvSpPr txBox="1"/>
          <p:nvPr/>
        </p:nvSpPr>
        <p:spPr>
          <a:xfrm>
            <a:off x="2052144" y="2001385"/>
            <a:ext cx="1574790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  <a:sym typeface="Wingdings" panose="05000000000000000000" pitchFamily="2" charset="2"/>
              </a:rPr>
              <a:t>          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effectLst/>
                <a:uLnTx/>
                <a:uFillTx/>
                <a:latin typeface="MetricHPE"/>
                <a:ea typeface="+mn-ea"/>
                <a:cs typeface="+mn-cs"/>
              </a:rPr>
              <a:t>Altra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pic>
        <p:nvPicPr>
          <p:cNvPr id="1026" name="Picture 2" descr="Ampere Computing - Wikipedia">
            <a:extLst>
              <a:ext uri="{FF2B5EF4-FFF2-40B4-BE49-F238E27FC236}">
                <a16:creationId xmlns:a16="http://schemas.microsoft.com/office/drawing/2014/main" id="{66E5CCCA-EA56-5351-FFC7-50649F9EC5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850" y="1714844"/>
            <a:ext cx="800998" cy="406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ntel | Data Center Solutions, IoT, and PC Innovation">
            <a:extLst>
              <a:ext uri="{FF2B5EF4-FFF2-40B4-BE49-F238E27FC236}">
                <a16:creationId xmlns:a16="http://schemas.microsoft.com/office/drawing/2014/main" id="{E57E088D-65C5-C9AE-31EF-F45B010958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8778" y="1687898"/>
            <a:ext cx="608660" cy="401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ompute Express Link (CXL) 3.0 Announced: Doubled Speeds and Flexible  Fabrics">
            <a:extLst>
              <a:ext uri="{FF2B5EF4-FFF2-40B4-BE49-F238E27FC236}">
                <a16:creationId xmlns:a16="http://schemas.microsoft.com/office/drawing/2014/main" id="{8D4B1995-6A3A-1651-9829-222A5DE6E8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817" y="4590641"/>
            <a:ext cx="750581" cy="425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6D1633B2-FA2E-7019-6B1E-6A7E7D022F70}"/>
              </a:ext>
            </a:extLst>
          </p:cNvPr>
          <p:cNvSpPr txBox="1">
            <a:spLocks/>
          </p:cNvSpPr>
          <p:nvPr/>
        </p:nvSpPr>
        <p:spPr>
          <a:xfrm>
            <a:off x="3626934" y="6059994"/>
            <a:ext cx="7481160" cy="411581"/>
          </a:xfrm>
          <a:prstGeom prst="rect">
            <a:avLst/>
          </a:prstGeom>
        </p:spPr>
        <p:txBody>
          <a:bodyPr vert="horz" lIns="90000" tIns="0" rIns="90000" bIns="0" rtlCol="0" anchor="b"/>
          <a:lstStyle>
            <a:defPPr>
              <a:defRPr lang="en-US"/>
            </a:defPPr>
            <a:lvl1pPr algn="r">
              <a:lnSpc>
                <a:spcPct val="90000"/>
              </a:lnSpc>
              <a:defRPr sz="12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chemeClr val="tx1"/>
                </a:solidFill>
              </a:rPr>
              <a:t>Confidential | HPE Internal Use Onl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130F490-BC76-4142-B74D-C01905E77F2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233300" y="4453667"/>
            <a:ext cx="582098" cy="22107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D9A56FC-65F3-4F54-A6EB-9F279D0EA6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823143" y="3887145"/>
            <a:ext cx="810373" cy="3272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ADB49EF-8768-4D9A-929D-7DB1F5888B1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142378" y="3256718"/>
            <a:ext cx="715515" cy="331199"/>
          </a:xfrm>
          <a:prstGeom prst="rect">
            <a:avLst/>
          </a:prstGeom>
        </p:spPr>
      </p:pic>
      <p:sp>
        <p:nvSpPr>
          <p:cNvPr id="36" name="Rounded Rectangle 18">
            <a:extLst>
              <a:ext uri="{FF2B5EF4-FFF2-40B4-BE49-F238E27FC236}">
                <a16:creationId xmlns:a16="http://schemas.microsoft.com/office/drawing/2014/main" id="{DE9883AF-FFF4-4CB4-A962-88E339ACC119}"/>
              </a:ext>
            </a:extLst>
          </p:cNvPr>
          <p:cNvSpPr/>
          <p:nvPr/>
        </p:nvSpPr>
        <p:spPr bwMode="ltGray">
          <a:xfrm>
            <a:off x="385102" y="1516568"/>
            <a:ext cx="1383584" cy="4082467"/>
          </a:xfrm>
          <a:prstGeom prst="roundRect">
            <a:avLst>
              <a:gd name="adj" fmla="val 3663"/>
            </a:avLst>
          </a:prstGeom>
          <a:blipFill>
            <a:blip r:embed="rId3"/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tricHPE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8CB8AD-9DFA-42CB-8536-FF3ECE43ED51}"/>
              </a:ext>
            </a:extLst>
          </p:cNvPr>
          <p:cNvSpPr txBox="1"/>
          <p:nvPr/>
        </p:nvSpPr>
        <p:spPr>
          <a:xfrm>
            <a:off x="798669" y="1930874"/>
            <a:ext cx="914400" cy="40114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90000" tIns="90000" rIns="90000" bIns="90000" rtlCol="0" anchor="ctr" anchorCtr="0">
            <a:noAutofit/>
          </a:bodyPr>
          <a:lstStyle/>
          <a:p>
            <a:pPr marL="0" indent="0" algn="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sz="1600">
                <a:solidFill>
                  <a:schemeClr val="bg1"/>
                </a:solidFill>
              </a:rPr>
              <a:t>Processeur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2BE63DB-3092-4A28-846A-DDBB400DA302}"/>
              </a:ext>
            </a:extLst>
          </p:cNvPr>
          <p:cNvSpPr txBox="1"/>
          <p:nvPr/>
        </p:nvSpPr>
        <p:spPr>
          <a:xfrm>
            <a:off x="798669" y="3010762"/>
            <a:ext cx="914400" cy="40114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90000" tIns="90000" rIns="90000" bIns="90000" rtlCol="0" anchor="ctr" anchorCtr="0">
            <a:noAutofit/>
          </a:bodyPr>
          <a:lstStyle/>
          <a:p>
            <a:pPr marL="0" indent="0" algn="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sz="1600">
                <a:solidFill>
                  <a:schemeClr val="bg1"/>
                </a:solidFill>
              </a:rPr>
              <a:t>Mémoir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52A9D0A-5CC9-438B-B7AB-8AF894CE6580}"/>
              </a:ext>
            </a:extLst>
          </p:cNvPr>
          <p:cNvSpPr txBox="1"/>
          <p:nvPr/>
        </p:nvSpPr>
        <p:spPr>
          <a:xfrm>
            <a:off x="228513" y="3704205"/>
            <a:ext cx="1484556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sz="1600">
                <a:solidFill>
                  <a:schemeClr val="bg1"/>
                </a:solidFill>
              </a:rPr>
              <a:t>Direct Attach Storage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6A31398-0201-44A6-942C-BB80877ECA02}"/>
              </a:ext>
            </a:extLst>
          </p:cNvPr>
          <p:cNvSpPr txBox="1"/>
          <p:nvPr/>
        </p:nvSpPr>
        <p:spPr>
          <a:xfrm>
            <a:off x="228513" y="4393817"/>
            <a:ext cx="1484556" cy="701731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sz="1600">
                <a:solidFill>
                  <a:schemeClr val="bg1"/>
                </a:solidFill>
              </a:rPr>
              <a:t>Fabrique / IO / Accélérateur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0468ECE-7B34-4A67-AD4C-A751374E8E45}"/>
              </a:ext>
            </a:extLst>
          </p:cNvPr>
          <p:cNvSpPr txBox="1"/>
          <p:nvPr/>
        </p:nvSpPr>
        <p:spPr>
          <a:xfrm>
            <a:off x="798669" y="5146320"/>
            <a:ext cx="914400" cy="401140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none" lIns="90000" tIns="90000" rIns="90000" bIns="90000" rtlCol="0" anchor="ctr" anchorCtr="0">
            <a:noAutofit/>
          </a:bodyPr>
          <a:lstStyle/>
          <a:p>
            <a:pPr marL="0" indent="0" algn="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fr-FR" sz="1600">
                <a:solidFill>
                  <a:schemeClr val="bg1"/>
                </a:solidFill>
              </a:rPr>
              <a:t>Réseau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F6CA2C1-5779-4340-8C39-8726D5EA0A3D}"/>
              </a:ext>
            </a:extLst>
          </p:cNvPr>
          <p:cNvCxnSpPr>
            <a:cxnSpLocks/>
          </p:cNvCxnSpPr>
          <p:nvPr/>
        </p:nvCxnSpPr>
        <p:spPr>
          <a:xfrm flipH="1">
            <a:off x="398165" y="2715401"/>
            <a:ext cx="6588000" cy="0"/>
          </a:xfrm>
          <a:prstGeom prst="line">
            <a:avLst/>
          </a:prstGeom>
          <a:noFill/>
          <a:ln w="22225" cap="rnd">
            <a:gradFill flip="none" rotWithShape="1">
              <a:gsLst>
                <a:gs pos="0">
                  <a:srgbClr val="DC5183"/>
                </a:gs>
                <a:gs pos="100000">
                  <a:schemeClr val="accent3"/>
                </a:gs>
              </a:gsLst>
              <a:lin ang="0" scaled="1"/>
              <a:tileRect/>
            </a:gradFill>
            <a:prstDash val="solid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8775B02-1FE6-4996-823C-555B2C46FEF1}"/>
              </a:ext>
            </a:extLst>
          </p:cNvPr>
          <p:cNvCxnSpPr>
            <a:cxnSpLocks/>
          </p:cNvCxnSpPr>
          <p:nvPr/>
        </p:nvCxnSpPr>
        <p:spPr>
          <a:xfrm flipH="1">
            <a:off x="398165" y="3625622"/>
            <a:ext cx="6588000" cy="0"/>
          </a:xfrm>
          <a:prstGeom prst="line">
            <a:avLst/>
          </a:prstGeom>
          <a:noFill/>
          <a:ln w="22225" cap="rnd">
            <a:gradFill flip="none" rotWithShape="1">
              <a:gsLst>
                <a:gs pos="0">
                  <a:srgbClr val="DC5183"/>
                </a:gs>
                <a:gs pos="100000">
                  <a:schemeClr val="accent3"/>
                </a:gs>
              </a:gsLst>
              <a:lin ang="0" scaled="1"/>
              <a:tileRect/>
            </a:gradFill>
            <a:prstDash val="solid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196D814-B100-47F5-BA41-AAEBF7DA84C4}"/>
              </a:ext>
            </a:extLst>
          </p:cNvPr>
          <p:cNvCxnSpPr>
            <a:cxnSpLocks/>
          </p:cNvCxnSpPr>
          <p:nvPr/>
        </p:nvCxnSpPr>
        <p:spPr>
          <a:xfrm flipH="1">
            <a:off x="398165" y="4407822"/>
            <a:ext cx="6588000" cy="0"/>
          </a:xfrm>
          <a:prstGeom prst="line">
            <a:avLst/>
          </a:prstGeom>
          <a:noFill/>
          <a:ln w="22225" cap="rnd">
            <a:gradFill flip="none" rotWithShape="1">
              <a:gsLst>
                <a:gs pos="0">
                  <a:srgbClr val="DC5183"/>
                </a:gs>
                <a:gs pos="100000">
                  <a:schemeClr val="accent3"/>
                </a:gs>
              </a:gsLst>
              <a:lin ang="0" scaled="1"/>
              <a:tileRect/>
            </a:gradFill>
            <a:prstDash val="solid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3A2D08C-E54B-4D50-BF57-10A7DA6BACBE}"/>
              </a:ext>
            </a:extLst>
          </p:cNvPr>
          <p:cNvCxnSpPr>
            <a:cxnSpLocks/>
          </p:cNvCxnSpPr>
          <p:nvPr/>
        </p:nvCxnSpPr>
        <p:spPr>
          <a:xfrm flipH="1">
            <a:off x="398165" y="5146320"/>
            <a:ext cx="6588000" cy="0"/>
          </a:xfrm>
          <a:prstGeom prst="line">
            <a:avLst/>
          </a:prstGeom>
          <a:noFill/>
          <a:ln w="22225" cap="rnd">
            <a:gradFill flip="none" rotWithShape="1">
              <a:gsLst>
                <a:gs pos="0">
                  <a:srgbClr val="DC5183"/>
                </a:gs>
                <a:gs pos="100000">
                  <a:schemeClr val="accent3"/>
                </a:gs>
              </a:gsLst>
              <a:lin ang="0" scaled="1"/>
              <a:tileRect/>
            </a:gradFill>
            <a:prstDash val="solid"/>
            <a:tailEnd type="none" w="med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2" name="Picture 13" descr="Text&#10;&#10;Description automatically generated">
            <a:extLst>
              <a:ext uri="{FF2B5EF4-FFF2-40B4-BE49-F238E27FC236}">
                <a16:creationId xmlns:a16="http://schemas.microsoft.com/office/drawing/2014/main" id="{201DA77D-B0FD-7335-BCBD-BE46CC48AA0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891931" y="3637190"/>
            <a:ext cx="3393007" cy="1909429"/>
          </a:xfrm>
          <a:prstGeom prst="rect">
            <a:avLst/>
          </a:prstGeom>
        </p:spPr>
      </p:pic>
      <p:pic>
        <p:nvPicPr>
          <p:cNvPr id="14" name="Picture 14" descr="A picture containing diagram&#10;&#10;Description automatically generated">
            <a:extLst>
              <a:ext uri="{FF2B5EF4-FFF2-40B4-BE49-F238E27FC236}">
                <a16:creationId xmlns:a16="http://schemas.microsoft.com/office/drawing/2014/main" id="{E06313B2-D484-19E2-FAC9-627BB55CE79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551523" y="1887574"/>
            <a:ext cx="1964077" cy="135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B289064-49B0-89B9-5A2C-C15F9E02A08C}"/>
              </a:ext>
            </a:extLst>
          </p:cNvPr>
          <p:cNvSpPr/>
          <p:nvPr/>
        </p:nvSpPr>
        <p:spPr bwMode="ltGray">
          <a:xfrm>
            <a:off x="3860035" y="6153668"/>
            <a:ext cx="3842952" cy="702398"/>
          </a:xfrm>
          <a:prstGeom prst="rect">
            <a:avLst/>
          </a:prstGeom>
          <a:solidFill>
            <a:schemeClr val="bg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fr-FR" err="1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AMD (x86 CISC) et Ampere (ARM RISC)  </a:t>
            </a:r>
            <a:r>
              <a:rPr lang="en-US" err="1"/>
              <a:t>serveurs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HPE ProLiant Compute Gen11 Portefeuille</a:t>
            </a:r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C50754F9-2C5B-4E65-95FB-5C7E389E36D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CONFIDENTIAL | AUTHORIZED HPE PARTNER USE ONLY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4ECC1E1-DFE7-4C2C-A607-FB86B9556E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8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Rectangle 2"/>
          <p:cNvSpPr/>
          <p:nvPr/>
        </p:nvSpPr>
        <p:spPr bwMode="ltGray">
          <a:xfrm>
            <a:off x="806604" y="1325031"/>
            <a:ext cx="11326045" cy="140267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136290" y="1010574"/>
            <a:ext cx="2672362" cy="150810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ctr">
              <a:defRPr/>
            </a:pPr>
            <a:r>
              <a:rPr lang="en-US">
                <a:latin typeface="MetricHPE Black" panose="020B0803030202060203" pitchFamily="34" charset="0"/>
              </a:rPr>
              <a:t>Cost optimized</a:t>
            </a:r>
          </a:p>
          <a:p>
            <a:pPr algn="ctr">
              <a:defRPr/>
            </a:pPr>
            <a:r>
              <a:rPr lang="en-US" sz="1400">
                <a:latin typeface="MetricHPE Black" panose="020B0803030202060203" pitchFamily="34" charset="0"/>
              </a:rPr>
              <a:t>1U, 1P</a:t>
            </a:r>
          </a:p>
          <a:p>
            <a:pPr algn="ctr">
              <a:defRPr/>
            </a:pPr>
            <a:r>
              <a:rPr lang="en-US" sz="1400"/>
              <a:t>HPE ProLiant DL325 Gen11</a:t>
            </a:r>
          </a:p>
          <a:p>
            <a:pPr algn="ctr">
              <a:defRPr/>
            </a:pPr>
            <a:r>
              <a:rPr lang="en-US" sz="1200" kern="0">
                <a:solidFill>
                  <a:prstClr val="black"/>
                </a:solidFill>
              </a:rPr>
              <a:t>AMD 4</a:t>
            </a:r>
            <a:r>
              <a:rPr lang="en-US" sz="1200" kern="0" baseline="30000">
                <a:solidFill>
                  <a:prstClr val="black"/>
                </a:solidFill>
              </a:rPr>
              <a:t>th</a:t>
            </a:r>
            <a:r>
              <a:rPr lang="en-US" sz="1200" kern="0">
                <a:solidFill>
                  <a:prstClr val="black"/>
                </a:solidFill>
              </a:rPr>
              <a:t> Gen EPYC™ Processor</a:t>
            </a:r>
          </a:p>
          <a:p>
            <a:pPr algn="ctr">
              <a:defRPr/>
            </a:pPr>
            <a:endParaRPr lang="en-US" sz="1400"/>
          </a:p>
        </p:txBody>
      </p:sp>
      <p:sp>
        <p:nvSpPr>
          <p:cNvPr id="10" name="TextBox 9"/>
          <p:cNvSpPr txBox="1"/>
          <p:nvPr/>
        </p:nvSpPr>
        <p:spPr>
          <a:xfrm>
            <a:off x="6695985" y="1010574"/>
            <a:ext cx="2606393" cy="129266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ctr">
              <a:defRPr/>
            </a:pPr>
            <a:r>
              <a:rPr lang="en-US">
                <a:latin typeface="MetricHPE Black" panose="020B0803030202060203" pitchFamily="34" charset="0"/>
              </a:rPr>
              <a:t>Density-optimized</a:t>
            </a:r>
          </a:p>
          <a:p>
            <a:pPr algn="ctr">
              <a:defRPr/>
            </a:pPr>
            <a:r>
              <a:rPr lang="en-US" sz="1400">
                <a:latin typeface="MetricHPE Black" panose="020B0803030202060203" pitchFamily="34" charset="0"/>
              </a:rPr>
              <a:t>1U, 2P</a:t>
            </a:r>
          </a:p>
          <a:p>
            <a:pPr algn="ctr">
              <a:defRPr/>
            </a:pPr>
            <a:r>
              <a:rPr lang="en-US" sz="1400"/>
              <a:t>HPE ProLiant DL365 Gen11</a:t>
            </a:r>
          </a:p>
          <a:p>
            <a:pPr algn="ctr">
              <a:defRPr/>
            </a:pPr>
            <a:r>
              <a:rPr lang="en-US" sz="1200" kern="0">
                <a:solidFill>
                  <a:prstClr val="black"/>
                </a:solidFill>
              </a:rPr>
              <a:t>AMD 4</a:t>
            </a:r>
            <a:r>
              <a:rPr lang="en-US" sz="1200" kern="0" baseline="30000">
                <a:solidFill>
                  <a:prstClr val="black"/>
                </a:solidFill>
              </a:rPr>
              <a:t>th</a:t>
            </a:r>
            <a:r>
              <a:rPr lang="en-US" sz="1200" kern="0">
                <a:solidFill>
                  <a:prstClr val="black"/>
                </a:solidFill>
              </a:rPr>
              <a:t> Gen EPYC™ Processor</a:t>
            </a:r>
            <a:endParaRPr lang="en-US" sz="1400" kern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88255" y="1010574"/>
            <a:ext cx="2887496" cy="150810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ctr">
              <a:defRPr/>
            </a:pPr>
            <a:r>
              <a:rPr lang="en-US">
                <a:latin typeface="MetricHPE Black" panose="020B0803030202060203" pitchFamily="34" charset="0"/>
              </a:rPr>
              <a:t>Storage-optimized</a:t>
            </a:r>
          </a:p>
          <a:p>
            <a:pPr algn="ctr">
              <a:defRPr/>
            </a:pPr>
            <a:r>
              <a:rPr lang="en-US" sz="1400">
                <a:latin typeface="MetricHPE Black" panose="020B0803030202060203" pitchFamily="34" charset="0"/>
              </a:rPr>
              <a:t>2U, 1P</a:t>
            </a:r>
          </a:p>
          <a:p>
            <a:pPr algn="ctr">
              <a:defRPr/>
            </a:pPr>
            <a:r>
              <a:rPr lang="en-US" sz="1400"/>
              <a:t>HPE ProLiant DL345 Gen11</a:t>
            </a:r>
          </a:p>
          <a:p>
            <a:pPr algn="ctr">
              <a:defRPr/>
            </a:pPr>
            <a:r>
              <a:rPr lang="en-US" sz="1200" kern="0">
                <a:solidFill>
                  <a:prstClr val="black"/>
                </a:solidFill>
              </a:rPr>
              <a:t>AMD 4</a:t>
            </a:r>
            <a:r>
              <a:rPr lang="en-US" sz="1200" kern="0" baseline="30000">
                <a:solidFill>
                  <a:prstClr val="black"/>
                </a:solidFill>
              </a:rPr>
              <a:t>th</a:t>
            </a:r>
            <a:r>
              <a:rPr lang="en-US" sz="1200" kern="0">
                <a:solidFill>
                  <a:prstClr val="black"/>
                </a:solidFill>
              </a:rPr>
              <a:t> Gen EPYC™ Processor</a:t>
            </a:r>
          </a:p>
          <a:p>
            <a:pPr algn="ctr">
              <a:defRPr/>
            </a:pPr>
            <a:endParaRPr lang="en-US" sz="1400"/>
          </a:p>
        </p:txBody>
      </p:sp>
      <p:sp>
        <p:nvSpPr>
          <p:cNvPr id="12" name="TextBox 11"/>
          <p:cNvSpPr txBox="1"/>
          <p:nvPr/>
        </p:nvSpPr>
        <p:spPr>
          <a:xfrm>
            <a:off x="9358701" y="1010574"/>
            <a:ext cx="2970145" cy="129266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ctr">
              <a:defRPr/>
            </a:pPr>
            <a:r>
              <a:rPr lang="en-US">
                <a:latin typeface="MetricHPE Black" panose="020B0803030202060203" pitchFamily="34" charset="0"/>
              </a:rPr>
              <a:t>Accelerator-optimized</a:t>
            </a:r>
          </a:p>
          <a:p>
            <a:pPr algn="ctr">
              <a:defRPr/>
            </a:pPr>
            <a:r>
              <a:rPr lang="en-US" sz="1400">
                <a:latin typeface="MetricHPE Black" panose="020B0803030202060203" pitchFamily="34" charset="0"/>
              </a:rPr>
              <a:t>2U, 2P</a:t>
            </a:r>
          </a:p>
          <a:p>
            <a:pPr algn="ctr">
              <a:defRPr/>
            </a:pPr>
            <a:r>
              <a:rPr lang="en-US" sz="1400"/>
              <a:t>HPE ProLiant DL385 Gen11</a:t>
            </a:r>
          </a:p>
          <a:p>
            <a:pPr algn="ctr">
              <a:defRPr/>
            </a:pPr>
            <a:r>
              <a:rPr lang="en-US" sz="1200" kern="0">
                <a:solidFill>
                  <a:prstClr val="black"/>
                </a:solidFill>
              </a:rPr>
              <a:t>AMD 4</a:t>
            </a:r>
            <a:r>
              <a:rPr lang="en-US" sz="1200" kern="0" baseline="30000">
                <a:solidFill>
                  <a:prstClr val="black"/>
                </a:solidFill>
              </a:rPr>
              <a:t>th</a:t>
            </a:r>
            <a:r>
              <a:rPr lang="en-US" sz="1200" kern="0">
                <a:solidFill>
                  <a:prstClr val="black"/>
                </a:solidFill>
              </a:rPr>
              <a:t> Gen EPYC™ Processor</a:t>
            </a:r>
            <a:endParaRPr lang="en-US" sz="1400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4015400"/>
              </p:ext>
            </p:extLst>
          </p:nvPr>
        </p:nvGraphicFramePr>
        <p:xfrm>
          <a:off x="815301" y="2774141"/>
          <a:ext cx="11326045" cy="10668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0461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599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599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599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3069"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Compute</a:t>
                      </a:r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SDS and CDN</a:t>
                      </a:r>
                    </a:p>
                  </a:txBody>
                  <a:tcPr marL="45720" marR="45720" anchor="ctr"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EDA and VDI</a:t>
                      </a:r>
                    </a:p>
                  </a:txBody>
                  <a:tcPr marL="45720" marR="45720" anchor="ctr"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AI/ML, Big Data Analytics</a:t>
                      </a:r>
                    </a:p>
                  </a:txBody>
                  <a:tcPr marL="45720" marR="4572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8065"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fr-FR" sz="11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 processeurs plus performants et des performances de stockage accrues réduisent le coût total de possession de l'informatique définie par logiciel dans un système à socket unique.</a:t>
                      </a: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éduction des coûts de licence avec un seul socket bénéficiant de plus de performances par cœur et de meilleures performances de stockage.</a:t>
                      </a: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1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 densité maximale des cœurs et la grande capacité de mémoire sont les moteurs de la densité pour la VDI.</a:t>
                      </a: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lvl="1" indent="0" algn="ctr" defTabSz="914400" rtl="0" eaLnBrk="1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fr-FR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formances accrues par cœur et traitement massivement parallèle avec double socket pour accélérer les analyses, prise en charge graphiques</a:t>
                      </a:r>
                      <a:r>
                        <a:rPr lang="fr-FR" sz="11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maximales</a:t>
                      </a:r>
                      <a:endParaRPr lang="en-US" sz="11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5" name="Group 209">
            <a:extLst>
              <a:ext uri="{FF2B5EF4-FFF2-40B4-BE49-F238E27FC236}">
                <a16:creationId xmlns:a16="http://schemas.microsoft.com/office/drawing/2014/main" id="{B04737B7-2B82-4D8F-A928-BD60055C550E}"/>
              </a:ext>
            </a:extLst>
          </p:cNvPr>
          <p:cNvGrpSpPr/>
          <p:nvPr/>
        </p:nvGrpSpPr>
        <p:grpSpPr>
          <a:xfrm>
            <a:off x="4499004" y="3673878"/>
            <a:ext cx="2407756" cy="1819004"/>
            <a:chOff x="9695705" y="1083125"/>
            <a:chExt cx="2407756" cy="1819004"/>
          </a:xfrm>
        </p:grpSpPr>
        <p:sp>
          <p:nvSpPr>
            <p:cNvPr id="23" name="TextBox 210">
              <a:extLst>
                <a:ext uri="{FF2B5EF4-FFF2-40B4-BE49-F238E27FC236}">
                  <a16:creationId xmlns:a16="http://schemas.microsoft.com/office/drawing/2014/main" id="{85FEF272-1370-4E5D-B045-F53A7EDB46E6}"/>
                </a:ext>
              </a:extLst>
            </p:cNvPr>
            <p:cNvSpPr txBox="1"/>
            <p:nvPr/>
          </p:nvSpPr>
          <p:spPr>
            <a:xfrm>
              <a:off x="9795128" y="1083125"/>
              <a:ext cx="2208910" cy="633333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R="0" lvl="0" indent="0" algn="ctr" fontAlgn="auto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>
                  <a:latin typeface="MetricHPE Black" panose="020B0803030202060203" pitchFamily="34" charset="0"/>
                </a:rPr>
                <a:t>Cloud-optimized</a:t>
              </a:r>
            </a:p>
          </p:txBody>
        </p:sp>
        <p:sp>
          <p:nvSpPr>
            <p:cNvPr id="24" name="TextBox 211">
              <a:extLst>
                <a:ext uri="{FF2B5EF4-FFF2-40B4-BE49-F238E27FC236}">
                  <a16:creationId xmlns:a16="http://schemas.microsoft.com/office/drawing/2014/main" id="{85952ACA-819F-40F3-BFA9-DA26BEB52F86}"/>
                </a:ext>
              </a:extLst>
            </p:cNvPr>
            <p:cNvSpPr txBox="1"/>
            <p:nvPr/>
          </p:nvSpPr>
          <p:spPr>
            <a:xfrm>
              <a:off x="9695705" y="1597184"/>
              <a:ext cx="2407756" cy="1046440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1U, 1P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ProLiant RL300 Gen1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Ampere® Altra® and Ampere® Altra® Max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  <p:pic>
          <p:nvPicPr>
            <p:cNvPr id="26" name="Picture 213" descr="A picture containing text, indoor, computer, electronics&#10;&#10;Description automatically generated">
              <a:extLst>
                <a:ext uri="{FF2B5EF4-FFF2-40B4-BE49-F238E27FC236}">
                  <a16:creationId xmlns:a16="http://schemas.microsoft.com/office/drawing/2014/main" id="{827E29E1-F2D9-4392-878C-104AF5A8B8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250" b="31093"/>
            <a:stretch/>
          </p:blipFill>
          <p:spPr>
            <a:xfrm>
              <a:off x="9746626" y="2185733"/>
              <a:ext cx="2305915" cy="716396"/>
            </a:xfrm>
            <a:prstGeom prst="rect">
              <a:avLst/>
            </a:prstGeom>
          </p:spPr>
        </p:pic>
      </p:grpSp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328278"/>
              </p:ext>
            </p:extLst>
          </p:nvPr>
        </p:nvGraphicFramePr>
        <p:xfrm>
          <a:off x="4322906" y="5559893"/>
          <a:ext cx="2759951" cy="98286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7599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3069"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0" lang="en-US" sz="14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loud-native compute</a:t>
                      </a:r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8065">
                <a:tc>
                  <a:txBody>
                    <a:bodyPr/>
                    <a:lstStyle/>
                    <a:p>
                      <a:pPr marL="52070" lvl="1" algn="ctr">
                        <a:defRPr/>
                      </a:pPr>
                      <a:r>
                        <a:rPr lang="en-US" sz="1100" kern="0">
                          <a:solidFill>
                            <a:prstClr val="black"/>
                          </a:solidFill>
                        </a:rPr>
                        <a:t>Service Providers/Digital First </a:t>
                      </a:r>
                    </a:p>
                    <a:p>
                      <a:pPr marL="5207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re Cou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cale-out</a:t>
                      </a:r>
                    </a:p>
                  </a:txBody>
                  <a:tcPr marL="45720" marR="4572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5" name="Picture 222" descr="A picture containing indoor&#10;&#10;Description automatically generated">
            <a:extLst>
              <a:ext uri="{FF2B5EF4-FFF2-40B4-BE49-F238E27FC236}">
                <a16:creationId xmlns:a16="http://schemas.microsoft.com/office/drawing/2014/main" id="{06733291-E00B-8E64-E8B7-2B2370C04D0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644" b="26133"/>
          <a:stretch/>
        </p:blipFill>
        <p:spPr>
          <a:xfrm>
            <a:off x="1383780" y="2007724"/>
            <a:ext cx="2212393" cy="807183"/>
          </a:xfrm>
          <a:prstGeom prst="rect">
            <a:avLst/>
          </a:prstGeom>
        </p:spPr>
      </p:pic>
      <p:pic>
        <p:nvPicPr>
          <p:cNvPr id="28" name="Picture 183" descr="A picture containing electronics, computer&#10;&#10;Description automatically generated">
            <a:extLst>
              <a:ext uri="{FF2B5EF4-FFF2-40B4-BE49-F238E27FC236}">
                <a16:creationId xmlns:a16="http://schemas.microsoft.com/office/drawing/2014/main" id="{5789EFEA-7A60-3759-B70B-221DF942DF9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30" b="22064"/>
          <a:stretch/>
        </p:blipFill>
        <p:spPr>
          <a:xfrm>
            <a:off x="4057503" y="1933834"/>
            <a:ext cx="2212393" cy="969299"/>
          </a:xfrm>
          <a:prstGeom prst="rect">
            <a:avLst/>
          </a:prstGeom>
        </p:spPr>
      </p:pic>
      <p:pic>
        <p:nvPicPr>
          <p:cNvPr id="29" name="Picture 193" descr="A picture containing indoor&#10;&#10;Description automatically generated">
            <a:extLst>
              <a:ext uri="{FF2B5EF4-FFF2-40B4-BE49-F238E27FC236}">
                <a16:creationId xmlns:a16="http://schemas.microsoft.com/office/drawing/2014/main" id="{DEBD4EF5-C224-FD8D-0EE1-5023933182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29" b="27895"/>
          <a:stretch/>
        </p:blipFill>
        <p:spPr>
          <a:xfrm>
            <a:off x="6888861" y="2007724"/>
            <a:ext cx="2312411" cy="808441"/>
          </a:xfrm>
          <a:prstGeom prst="rect">
            <a:avLst/>
          </a:prstGeom>
        </p:spPr>
      </p:pic>
      <p:pic>
        <p:nvPicPr>
          <p:cNvPr id="30" name="Picture 203" descr="A picture containing electronics, computer&#10;&#10;Description automatically generated">
            <a:extLst>
              <a:ext uri="{FF2B5EF4-FFF2-40B4-BE49-F238E27FC236}">
                <a16:creationId xmlns:a16="http://schemas.microsoft.com/office/drawing/2014/main" id="{8EA7B249-8611-A9B8-5CD6-15842432F27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90" b="19598"/>
          <a:stretch/>
        </p:blipFill>
        <p:spPr>
          <a:xfrm>
            <a:off x="9820237" y="1971593"/>
            <a:ext cx="2067110" cy="963742"/>
          </a:xfrm>
          <a:prstGeom prst="rect">
            <a:avLst/>
          </a:prstGeom>
        </p:spPr>
      </p:pic>
      <p:sp>
        <p:nvSpPr>
          <p:cNvPr id="5" name="Rounded Rectangle 3">
            <a:extLst>
              <a:ext uri="{FF2B5EF4-FFF2-40B4-BE49-F238E27FC236}">
                <a16:creationId xmlns:a16="http://schemas.microsoft.com/office/drawing/2014/main" id="{EF5330CC-EC99-15C3-4A50-200A5CA0102F}"/>
              </a:ext>
            </a:extLst>
          </p:cNvPr>
          <p:cNvSpPr/>
          <p:nvPr/>
        </p:nvSpPr>
        <p:spPr bwMode="ltGray">
          <a:xfrm>
            <a:off x="10115550" y="78666"/>
            <a:ext cx="1953980" cy="714548"/>
          </a:xfrm>
          <a:prstGeom prst="roundRect">
            <a:avLst>
              <a:gd name="adj" fmla="val 10029"/>
            </a:avLst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  <a:t>HPE ProLiant Compute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</a:br>
            <a:r>
              <a:rPr lang="en-US" sz="1200">
                <a:solidFill>
                  <a:prstClr val="white"/>
                </a:solidFill>
                <a:latin typeface="MetricHPE Light" panose="020B0303030202060203" pitchFamily="34" charset="77"/>
                <a:sym typeface="MetricHPE" panose="020B0503030202060203" pitchFamily="34" charset="0"/>
              </a:rPr>
              <a:t>General Purpos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 Light" panose="020B0303030202060203" pitchFamily="34" charset="77"/>
              <a:ea typeface="+mn-ea"/>
              <a:cs typeface="+mn-cs"/>
              <a:sym typeface="MetricHPE" panose="020B0503030202060203" pitchFamily="34" charset="0"/>
            </a:endParaRPr>
          </a:p>
        </p:txBody>
      </p:sp>
      <p:pic>
        <p:nvPicPr>
          <p:cNvPr id="74754" name="Picture 2">
            <a:extLst>
              <a:ext uri="{FF2B5EF4-FFF2-40B4-BE49-F238E27FC236}">
                <a16:creationId xmlns:a16="http://schemas.microsoft.com/office/drawing/2014/main" id="{1F19A886-94A9-CB16-222D-500F54C5FA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7896" y="4891010"/>
            <a:ext cx="828392" cy="82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756" name="Picture 4" descr="Amd, Processor, Digital">
            <a:extLst>
              <a:ext uri="{FF2B5EF4-FFF2-40B4-BE49-F238E27FC236}">
                <a16:creationId xmlns:a16="http://schemas.microsoft.com/office/drawing/2014/main" id="{3D35856C-6EF6-0EB9-0D51-CE4C8CFCA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946" y="2056980"/>
            <a:ext cx="878355" cy="878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8818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9AB423F1-3771-854A-8D3E-DEC6F473E776}"/>
              </a:ext>
            </a:extLst>
          </p:cNvPr>
          <p:cNvSpPr/>
          <p:nvPr/>
        </p:nvSpPr>
        <p:spPr bwMode="ltGray">
          <a:xfrm>
            <a:off x="3842951" y="6154051"/>
            <a:ext cx="3842952" cy="702398"/>
          </a:xfrm>
          <a:prstGeom prst="rect">
            <a:avLst/>
          </a:prstGeom>
          <a:solidFill>
            <a:schemeClr val="bg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fr-FR" err="1">
              <a:solidFill>
                <a:schemeClr val="tx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Intel (x86 CISC) </a:t>
            </a:r>
            <a:r>
              <a:rPr lang="en-US" err="1"/>
              <a:t>serveurs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ore Compute Gen11 Portfolio</a:t>
            </a:r>
            <a:endParaRPr lang="en-US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C50754F9-2C5B-4E65-95FB-5C7E389E36D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787871"/>
                </a:solidFill>
              </a:rPr>
              <a:t>CONFIDENTIAL | AUTHORIZED HPE PARTNER USE ONLY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D4ECC1E1-DFE7-4C2C-A607-FB86B9556E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088421"/>
            <a:fld id="{104FC826-72BB-4AF1-BA01-A94F7396A7DC}" type="slidenum">
              <a:rPr lang="en-US" smtClean="0">
                <a:solidFill>
                  <a:srgbClr val="787871"/>
                </a:solidFill>
              </a:rPr>
              <a:pPr defTabSz="1088421"/>
              <a:t>9</a:t>
            </a:fld>
            <a:endParaRPr lang="en-US">
              <a:solidFill>
                <a:srgbClr val="787871"/>
              </a:solidFill>
            </a:endParaRPr>
          </a:p>
        </p:txBody>
      </p:sp>
      <p:sp>
        <p:nvSpPr>
          <p:cNvPr id="3" name="Rectangle 2"/>
          <p:cNvSpPr/>
          <p:nvPr/>
        </p:nvSpPr>
        <p:spPr bwMode="ltGray">
          <a:xfrm>
            <a:off x="425604" y="1389683"/>
            <a:ext cx="11326045" cy="140267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1964" y="1029046"/>
            <a:ext cx="2754263" cy="1239698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ctr">
              <a:lnSpc>
                <a:spcPct val="92000"/>
              </a:lnSpc>
              <a:spcBef>
                <a:spcPts val="400"/>
              </a:spcBef>
            </a:pPr>
            <a:r>
              <a:rPr lang="en-US" b="1">
                <a:latin typeface="MetricHPE Black" panose="020B0803030202060203" pitchFamily="34" charset="0"/>
              </a:rPr>
              <a:t>TCO &amp; Density optimized </a:t>
            </a:r>
          </a:p>
          <a:p>
            <a:pPr algn="ctr">
              <a:defRPr/>
            </a:pPr>
            <a:r>
              <a:rPr lang="en-US" sz="1400">
                <a:latin typeface="MetricHPE Black" panose="020B0803030202060203" pitchFamily="34" charset="0"/>
              </a:rPr>
              <a:t>1U, 1P</a:t>
            </a:r>
          </a:p>
          <a:p>
            <a:pPr algn="ctr">
              <a:defRPr/>
            </a:pPr>
            <a:r>
              <a:rPr lang="en-US" sz="1400"/>
              <a:t>HPE ProLiant DL320 Gen11</a:t>
            </a:r>
          </a:p>
          <a:p>
            <a:pPr algn="ctr">
              <a:defRPr/>
            </a:pPr>
            <a:r>
              <a:rPr lang="en-US" sz="1200" kern="0">
                <a:solidFill>
                  <a:prstClr val="black"/>
                </a:solidFill>
              </a:rPr>
              <a:t>4th Gen Intel Xeon Scalable processo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43560" y="1029046"/>
            <a:ext cx="2606393" cy="1239698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ctr">
              <a:lnSpc>
                <a:spcPct val="92000"/>
              </a:lnSpc>
              <a:spcBef>
                <a:spcPts val="400"/>
              </a:spcBef>
              <a:defRPr/>
            </a:pPr>
            <a:r>
              <a:rPr lang="en-US" b="1">
                <a:latin typeface="MetricHPE Black" panose="020B0803030202060203" pitchFamily="34" charset="0"/>
              </a:rPr>
              <a:t>Diverse Workloads</a:t>
            </a:r>
          </a:p>
          <a:p>
            <a:pPr algn="ctr">
              <a:defRPr/>
            </a:pPr>
            <a:r>
              <a:rPr lang="en-US" sz="1400">
                <a:latin typeface="MetricHPE Black" panose="020B0803030202060203" pitchFamily="34" charset="0"/>
              </a:rPr>
              <a:t>2U, 2P</a:t>
            </a:r>
          </a:p>
          <a:p>
            <a:pPr algn="ctr">
              <a:defRPr/>
            </a:pPr>
            <a:r>
              <a:rPr lang="en-US" sz="1400"/>
              <a:t>HPE ProLiant DL380 Gen11</a:t>
            </a:r>
          </a:p>
          <a:p>
            <a:pPr algn="ctr">
              <a:defRPr/>
            </a:pPr>
            <a:r>
              <a:rPr lang="en-US" sz="1200" kern="0">
                <a:solidFill>
                  <a:prstClr val="black"/>
                </a:solidFill>
              </a:rPr>
              <a:t>4th Gen Intel Xeon Scalable processo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335830" y="1029046"/>
            <a:ext cx="2887496" cy="1477328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ctr">
              <a:lnSpc>
                <a:spcPct val="92000"/>
              </a:lnSpc>
              <a:spcBef>
                <a:spcPts val="400"/>
              </a:spcBef>
              <a:defRPr/>
            </a:pPr>
            <a:r>
              <a:rPr lang="en-US" b="1">
                <a:latin typeface="MetricHPE Black" panose="020B0803030202060203" pitchFamily="34" charset="0"/>
              </a:rPr>
              <a:t>Rack-optimized</a:t>
            </a:r>
          </a:p>
          <a:p>
            <a:pPr algn="ctr">
              <a:defRPr/>
            </a:pPr>
            <a:r>
              <a:rPr lang="en-US" sz="1400">
                <a:latin typeface="MetricHPE Black" panose="020B0803030202060203" pitchFamily="34" charset="0"/>
              </a:rPr>
              <a:t>1U, 2P</a:t>
            </a:r>
          </a:p>
          <a:p>
            <a:pPr algn="ctr">
              <a:defRPr/>
            </a:pPr>
            <a:r>
              <a:rPr lang="en-US" sz="1400"/>
              <a:t>HPE ProLiant DL360 Gen11</a:t>
            </a:r>
          </a:p>
          <a:p>
            <a:pPr algn="ctr">
              <a:defRPr/>
            </a:pPr>
            <a:r>
              <a:rPr lang="en-US" sz="1200" kern="0">
                <a:solidFill>
                  <a:prstClr val="black"/>
                </a:solidFill>
              </a:rPr>
              <a:t>4th Gen Intel Xeon Scalable processor</a:t>
            </a:r>
          </a:p>
          <a:p>
            <a:pPr algn="ctr">
              <a:defRPr/>
            </a:pPr>
            <a:endParaRPr lang="en-US" sz="1400"/>
          </a:p>
        </p:txBody>
      </p:sp>
      <p:sp>
        <p:nvSpPr>
          <p:cNvPr id="12" name="TextBox 11"/>
          <p:cNvSpPr txBox="1"/>
          <p:nvPr/>
        </p:nvSpPr>
        <p:spPr>
          <a:xfrm>
            <a:off x="8958652" y="1029046"/>
            <a:ext cx="1973052" cy="1938992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182880" tIns="182880" rIns="182880" bIns="182880" rtlCol="0">
            <a:spAutoFit/>
          </a:bodyPr>
          <a:lstStyle/>
          <a:p>
            <a:pPr algn="ctr">
              <a:lnSpc>
                <a:spcPct val="92000"/>
              </a:lnSpc>
              <a:spcBef>
                <a:spcPts val="400"/>
              </a:spcBef>
              <a:defRPr/>
            </a:pPr>
            <a:r>
              <a:rPr lang="en-US" b="1">
                <a:latin typeface="MetricHPE Black" panose="020B0803030202060203" pitchFamily="34" charset="0"/>
              </a:rPr>
              <a:t>Powerful Tower solution </a:t>
            </a:r>
          </a:p>
          <a:p>
            <a:pPr algn="ctr">
              <a:defRPr/>
            </a:pPr>
            <a:r>
              <a:rPr lang="en-US" sz="1400">
                <a:latin typeface="MetricHPE Black" panose="020B0803030202060203" pitchFamily="34" charset="0"/>
              </a:rPr>
              <a:t>2P</a:t>
            </a:r>
          </a:p>
          <a:p>
            <a:pPr algn="ctr">
              <a:defRPr/>
            </a:pPr>
            <a:r>
              <a:rPr lang="en-US" sz="1400"/>
              <a:t>HPE ProLiant ML350 Gen11</a:t>
            </a:r>
          </a:p>
          <a:p>
            <a:pPr algn="ctr">
              <a:defRPr/>
            </a:pPr>
            <a:r>
              <a:rPr lang="en-US" sz="1200" kern="0">
                <a:solidFill>
                  <a:prstClr val="black"/>
                </a:solidFill>
              </a:rPr>
              <a:t>4th Gen Intel Xeon Scalable processor</a:t>
            </a:r>
          </a:p>
        </p:txBody>
      </p:sp>
      <p:grpSp>
        <p:nvGrpSpPr>
          <p:cNvPr id="15" name="Group 209">
            <a:extLst>
              <a:ext uri="{FF2B5EF4-FFF2-40B4-BE49-F238E27FC236}">
                <a16:creationId xmlns:a16="http://schemas.microsoft.com/office/drawing/2014/main" id="{B04737B7-2B82-4D8F-A928-BD60055C550E}"/>
              </a:ext>
            </a:extLst>
          </p:cNvPr>
          <p:cNvGrpSpPr/>
          <p:nvPr/>
        </p:nvGrpSpPr>
        <p:grpSpPr>
          <a:xfrm>
            <a:off x="4228562" y="3692350"/>
            <a:ext cx="2953079" cy="1745165"/>
            <a:chOff x="9425263" y="1083125"/>
            <a:chExt cx="2953079" cy="1745165"/>
          </a:xfrm>
        </p:grpSpPr>
        <p:sp>
          <p:nvSpPr>
            <p:cNvPr id="23" name="TextBox 210">
              <a:extLst>
                <a:ext uri="{FF2B5EF4-FFF2-40B4-BE49-F238E27FC236}">
                  <a16:creationId xmlns:a16="http://schemas.microsoft.com/office/drawing/2014/main" id="{85FEF272-1370-4E5D-B045-F53A7EDB46E6}"/>
                </a:ext>
              </a:extLst>
            </p:cNvPr>
            <p:cNvSpPr txBox="1"/>
            <p:nvPr/>
          </p:nvSpPr>
          <p:spPr>
            <a:xfrm>
              <a:off x="9425263" y="1083125"/>
              <a:ext cx="2953079" cy="633333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182880" tIns="182880" rIns="182880" bIns="18288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 panose="020B0503030202060203" pitchFamily="34" charset="77"/>
                  <a:ea typeface="+mn-ea"/>
                  <a:cs typeface="+mn-cs"/>
                </a:rPr>
                <a:t>Composable Infrastructure</a:t>
              </a:r>
            </a:p>
          </p:txBody>
        </p:sp>
        <p:sp>
          <p:nvSpPr>
            <p:cNvPr id="24" name="TextBox 211">
              <a:extLst>
                <a:ext uri="{FF2B5EF4-FFF2-40B4-BE49-F238E27FC236}">
                  <a16:creationId xmlns:a16="http://schemas.microsoft.com/office/drawing/2014/main" id="{85952ACA-819F-40F3-BFA9-DA26BEB52F86}"/>
                </a:ext>
              </a:extLst>
            </p:cNvPr>
            <p:cNvSpPr txBox="1"/>
            <p:nvPr/>
          </p:nvSpPr>
          <p:spPr>
            <a:xfrm>
              <a:off x="9695705" y="1597184"/>
              <a:ext cx="1389892" cy="1231106"/>
            </a:xfrm>
            <a:prstGeom prst="rect">
              <a:avLst/>
            </a:prstGeom>
            <a:noFill/>
            <a:ln w="57150">
              <a:noFill/>
              <a:miter lim="800000"/>
            </a:ln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b="1" kern="0">
                  <a:solidFill>
                    <a:prstClr val="black"/>
                  </a:solidFill>
                  <a:latin typeface="MetricHPE"/>
                </a:rPr>
                <a:t>2</a:t>
              </a: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P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etricHPE"/>
                  <a:ea typeface="+mn-ea"/>
                  <a:cs typeface="+mn-cs"/>
                </a:rPr>
                <a:t>HPE Synergy 480 Gen11*</a:t>
              </a:r>
            </a:p>
            <a:p>
              <a:pPr lvl="0" algn="ctr">
                <a:defRPr/>
              </a:pPr>
              <a:r>
                <a:rPr lang="en-US" sz="1200" kern="0">
                  <a:solidFill>
                    <a:prstClr val="black"/>
                  </a:solidFill>
                </a:rPr>
                <a:t>4th Gen Intel Xeon Scalable processor</a:t>
              </a: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tricHPE"/>
                <a:ea typeface="+mn-ea"/>
                <a:cs typeface="+mn-cs"/>
              </a:endParaRPr>
            </a:p>
          </p:txBody>
        </p:sp>
      </p:grp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50098" y="4224424"/>
            <a:ext cx="1115525" cy="119519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325554" y="6264843"/>
            <a:ext cx="2415208" cy="276075"/>
          </a:xfrm>
          <a:prstGeom prst="rect">
            <a:avLst/>
          </a:prstGeom>
          <a:noFill/>
          <a:ln w="57150">
            <a:noFill/>
            <a:miter lim="800000"/>
          </a:ln>
        </p:spPr>
        <p:txBody>
          <a:bodyPr wrap="square" lIns="90000" tIns="90000" rIns="90000" bIns="90000" rtlCol="0" anchor="ctr" anchorCtr="0">
            <a:noAutofit/>
          </a:bodyPr>
          <a:lstStyle/>
          <a:p>
            <a:pPr marL="0" indent="0" algn="ctr">
              <a:lnSpc>
                <a:spcPct val="90000"/>
              </a:lnSpc>
              <a:spcBef>
                <a:spcPts val="400"/>
              </a:spcBef>
              <a:buFont typeface="MetricHPE" panose="020B0503030202060203" pitchFamily="34" charset="0"/>
              <a:buNone/>
            </a:pPr>
            <a:r>
              <a:rPr lang="en-US" sz="1100"/>
              <a:t>*Synergy Gen11 is targeting March, 2023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996" y="1386379"/>
            <a:ext cx="2481834" cy="204751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8731" y="1423599"/>
            <a:ext cx="2391603" cy="197307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4594" y="1489106"/>
            <a:ext cx="2231486" cy="184097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5959" y="1378744"/>
            <a:ext cx="1726724" cy="1424547"/>
          </a:xfrm>
          <a:prstGeom prst="rect">
            <a:avLst/>
          </a:prstGeom>
        </p:spPr>
      </p:pic>
      <p:pic>
        <p:nvPicPr>
          <p:cNvPr id="76802" name="Picture 2" descr="Intel Logo PNG Transparent - PngPix">
            <a:extLst>
              <a:ext uri="{FF2B5EF4-FFF2-40B4-BE49-F238E27FC236}">
                <a16:creationId xmlns:a16="http://schemas.microsoft.com/office/drawing/2014/main" id="{2CA6003D-F8A9-EEB1-3849-14176F772E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050" y="4577646"/>
            <a:ext cx="1056108" cy="704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ounded Rectangle 3">
            <a:extLst>
              <a:ext uri="{FF2B5EF4-FFF2-40B4-BE49-F238E27FC236}">
                <a16:creationId xmlns:a16="http://schemas.microsoft.com/office/drawing/2014/main" id="{977CCCAD-E01D-9AE1-5290-0405202A0CF1}"/>
              </a:ext>
            </a:extLst>
          </p:cNvPr>
          <p:cNvSpPr/>
          <p:nvPr/>
        </p:nvSpPr>
        <p:spPr bwMode="ltGray">
          <a:xfrm>
            <a:off x="10115550" y="78666"/>
            <a:ext cx="1953980" cy="714548"/>
          </a:xfrm>
          <a:prstGeom prst="roundRect">
            <a:avLst>
              <a:gd name="adj" fmla="val 10029"/>
            </a:avLst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  <a:t>HPE ProLiant Compute</a:t>
            </a:r>
            <a:b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tricHPE" panose="020B0503030202060203" pitchFamily="34" charset="77"/>
                <a:ea typeface="+mn-ea"/>
                <a:cs typeface="+mn-cs"/>
                <a:sym typeface="MetricHPE" panose="020B0503030202060203" pitchFamily="34" charset="0"/>
              </a:rPr>
            </a:br>
            <a:r>
              <a:rPr lang="en-US" sz="1200">
                <a:solidFill>
                  <a:prstClr val="white"/>
                </a:solidFill>
                <a:latin typeface="MetricHPE Light" panose="020B0303030202060203" pitchFamily="34" charset="77"/>
                <a:sym typeface="MetricHPE" panose="020B0503030202060203" pitchFamily="34" charset="0"/>
              </a:rPr>
              <a:t>General Purpos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tricHPE Light" panose="020B0303030202060203" pitchFamily="34" charset="77"/>
              <a:ea typeface="+mn-ea"/>
              <a:cs typeface="+mn-cs"/>
              <a:sym typeface="MetricHPE" panose="020B0503030202060203" pitchFamily="34" charset="0"/>
            </a:endParaRPr>
          </a:p>
        </p:txBody>
      </p:sp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82B80CDE-67DC-B9F6-421E-5D2A26A262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3111821"/>
              </p:ext>
            </p:extLst>
          </p:nvPr>
        </p:nvGraphicFramePr>
        <p:xfrm>
          <a:off x="434301" y="2792613"/>
          <a:ext cx="11326045" cy="10668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0461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599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599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599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3069"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1"/>
                        <a:t>Right-sized</a:t>
                      </a:r>
                      <a:r>
                        <a:rPr lang="en-US" sz="1400" b="1" baseline="0"/>
                        <a:t> Edge Compute</a:t>
                      </a:r>
                      <a:endParaRPr lang="en-US" sz="1400" b="1"/>
                    </a:p>
                  </a:txBody>
                  <a:tcPr marL="45720" marR="4572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1"/>
                        <a:t>Enterprise Compute</a:t>
                      </a:r>
                    </a:p>
                  </a:txBody>
                  <a:tcPr marL="45720" marR="45720" anchor="ctr"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Enterprise Scalability</a:t>
                      </a:r>
                    </a:p>
                  </a:txBody>
                  <a:tcPr marL="45720" marR="45720" anchor="ctr"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Remote Office/Branch/Store</a:t>
                      </a:r>
                    </a:p>
                  </a:txBody>
                  <a:tcPr marL="45720" marR="4572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8065"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fr-FR" sz="1100" baseline="0">
                          <a:solidFill>
                            <a:schemeClr val="tx1"/>
                          </a:solidFill>
                          <a:latin typeface="+mj-lt"/>
                        </a:rPr>
                        <a:t>Des processeurs plus performants et des performances de stockage accrues dans un système à forte densité de GPU rendent l'IA et la VDI de pointe attrayantes.</a:t>
                      </a:r>
                      <a:endParaRPr lang="en-US" sz="11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nsité CPU/mémoire avec plus de performances par cœur et des performances de stockage accrues pour accélérer les charges de travail de l'entreprise.</a:t>
                      </a:r>
                      <a:endParaRPr lang="en-US" sz="1100" kern="120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100" kern="1200" baseline="0">
                          <a:solidFill>
                            <a:schemeClr val="tx1"/>
                          </a:solidFill>
                          <a:latin typeface="+mj-lt"/>
                        </a:rPr>
                        <a:t>Une densité maximale des cœurs et une capacité de mémoire très élevée, associées à un stockage dense.</a:t>
                      </a:r>
                      <a:br>
                        <a:rPr lang="fr-FR" sz="1100" kern="1200" baseline="0">
                          <a:solidFill>
                            <a:srgbClr val="000000"/>
                          </a:solidFill>
                          <a:latin typeface="+mj-lt"/>
                        </a:rPr>
                      </a:br>
                      <a:r>
                        <a:rPr lang="fr-FR" sz="1100" b="1" kern="1200" baseline="0">
                          <a:solidFill>
                            <a:schemeClr val="tx1"/>
                          </a:solidFill>
                          <a:latin typeface="+mj-lt"/>
                        </a:rPr>
                        <a:t>4 GPUS Double Wide sur DL380a Gen11</a:t>
                      </a:r>
                      <a:endParaRPr lang="en-US" sz="11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2070" lvl="1" indent="0" algn="ctr" defTabSz="914400" rtl="0" eaLnBrk="1" latinLnBrk="0" hangingPunct="1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fr-FR" sz="1100" kern="1200">
                          <a:solidFill>
                            <a:schemeClr val="tx1"/>
                          </a:solidFill>
                          <a:latin typeface="+mj-lt"/>
                        </a:rPr>
                        <a:t>Virtualisation, cheval de bataille de la productivité avec la capacité d'évoluer et de s'adapter à tout environnement.</a:t>
                      </a:r>
                      <a:endParaRPr lang="en-US" sz="1100" kern="120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45720" marR="4572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D0826EB2-0620-2E41-287C-51A72EF1F0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3110294"/>
              </p:ext>
            </p:extLst>
          </p:nvPr>
        </p:nvGraphicFramePr>
        <p:xfrm>
          <a:off x="4322906" y="5578365"/>
          <a:ext cx="2759951" cy="11125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7599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44947">
                <a:tc>
                  <a:txBody>
                    <a:bodyPr/>
                    <a:lstStyle/>
                    <a:p>
                      <a:pPr marL="52070" lvl="1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kumimoji="0" lang="en-US" sz="14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formatique traditionnelle et cloud-native</a:t>
                      </a:r>
                      <a:endParaRPr lang="en-US" sz="1400" b="1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2258">
                <a:tc>
                  <a:txBody>
                    <a:bodyPr/>
                    <a:lstStyle/>
                    <a:p>
                      <a:pPr marL="52070" lvl="1" algn="ctr">
                        <a:defRPr/>
                      </a:pPr>
                      <a:r>
                        <a:rPr lang="fr-FR" sz="1100" kern="0">
                          <a:solidFill>
                            <a:prstClr val="black"/>
                          </a:solidFill>
                        </a:rPr>
                        <a:t>Une seule infrastructure pour toutes les charges de travail</a:t>
                      </a:r>
                    </a:p>
                    <a:p>
                      <a:pPr marL="52070" lvl="1" algn="ctr">
                        <a:defRPr/>
                      </a:pPr>
                      <a:r>
                        <a:rPr lang="fr-FR" sz="1100" kern="0">
                          <a:solidFill>
                            <a:prstClr val="black"/>
                          </a:solidFill>
                        </a:rPr>
                        <a:t>Virtualisation / Cloud privé</a:t>
                      </a:r>
                      <a:endParaRPr kumimoji="0" lang="en-US" sz="11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6713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" id="{95AD0B46-8996-43D6-A757-ECCCFC03F9B8}" vid="{83FBB3FB-0FD9-4489-83E5-958E13ED0952}"/>
    </a:ext>
  </a:extLst>
</a:theme>
</file>

<file path=ppt/theme/theme2.xml><?xml version="1.0" encoding="utf-8"?>
<a:theme xmlns:a="http://schemas.openxmlformats.org/drawingml/2006/main" name="1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37941_HPE_ProLiant_Compute_Presentation" id="{94C0538A-D2EF-4AC4-B3AD-25B8F863B40B}" vid="{20ECF8DD-94BE-4F1F-B048-22242BC77F15}"/>
    </a:ext>
  </a:extLst>
</a:theme>
</file>

<file path=ppt/theme/theme3.xml><?xml version="1.0" encoding="utf-8"?>
<a:theme xmlns:a="http://schemas.openxmlformats.org/drawingml/2006/main" name="HPE Standard 16x9 Black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FFFFFF"/>
      </a:hlink>
      <a:folHlink>
        <a:srgbClr val="FFFFFF"/>
      </a:folHlink>
    </a:clrScheme>
    <a:fontScheme name="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 anchor="ctr" anchorCtr="0">
        <a:noAutofit/>
      </a:bodyPr>
      <a:lstStyle>
        <a:defPPr algn="ctr">
          <a:lnSpc>
            <a:spcPct val="90000"/>
          </a:lnSpc>
          <a:spcBef>
            <a:spcPts val="400"/>
          </a:spcBef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Black Template" id="{9DBD7862-9846-4DCD-9492-1F928BC2E086}" vid="{AE87438B-5D91-4D46-A672-54198E25B63E}"/>
    </a:ext>
  </a:extLst>
</a:theme>
</file>

<file path=ppt/theme/theme4.xml><?xml version="1.0" encoding="utf-8"?>
<a:theme xmlns:a="http://schemas.openxmlformats.org/drawingml/2006/main" name="2_HPE Standard 16x9 White Template">
  <a:themeElements>
    <a:clrScheme name="HPE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00000"/>
      </a:hlink>
      <a:folHlink>
        <a:srgbClr val="000000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0000" tIns="90000" rIns="90000" bIns="90000" rtlCol="0" anchor="ctr" anchorCtr="0">
        <a:noAutofit/>
      </a:bodyPr>
      <a:lstStyle>
        <a:defPPr marL="0" indent="0" algn="ctr">
          <a:lnSpc>
            <a:spcPct val="90000"/>
          </a:lnSpc>
          <a:spcBef>
            <a:spcPts val="400"/>
          </a:spcBef>
          <a:buFont typeface="MetricHPE" panose="020B0503030202060203" pitchFamily="34" charset="0"/>
          <a:buNone/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Standard 16x9 White Template" id="{95AD0B46-8996-43D6-A757-ECCCFC03F9B8}" vid="{83FBB3FB-0FD9-4489-83E5-958E13ED0952}"/>
    </a:ext>
  </a:extLst>
</a:theme>
</file>

<file path=ppt/theme/theme5.xml><?xml version="1.0" encoding="utf-8"?>
<a:theme xmlns:a="http://schemas.openxmlformats.org/drawingml/2006/main" name="2_HPE_Standard_Metric_16x9_080117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Arial"/>
        <a:cs typeface="Arial"/>
      </a:majorFont>
      <a:minorFont>
        <a:latin typeface="MetricHPE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57150">
          <a:solidFill>
            <a:schemeClr val="accent1"/>
          </a:solidFill>
        </a:ln>
      </a:spPr>
      <a:bodyPr tIns="91440" bIns="91440" rtlCol="0" anchor="ctr"/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91440" tIns="91440" rIns="91440" bIns="91440" rtlCol="0">
        <a:spAutoFit/>
      </a:bodyPr>
      <a:lstStyle>
        <a:defPPr marL="285750" indent="-285750" algn="l">
          <a:lnSpc>
            <a:spcPct val="90000"/>
          </a:lnSpc>
          <a:spcBef>
            <a:spcPts val="400"/>
          </a:spcBef>
          <a:buFont typeface="MetricHPE" panose="020B0503030202060203" pitchFamily="34" charset="0"/>
          <a:buChar char="•"/>
          <a:defRPr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Presentation1" id="{47D522F7-1749-4ADC-8F49-3278142C3D39}" vid="{824A8022-150D-4C45-98A5-5941DE677E57}"/>
    </a:ext>
  </a:extLst>
</a:theme>
</file>

<file path=ppt/theme/theme6.xml><?xml version="1.0" encoding="utf-8"?>
<a:theme xmlns:a="http://schemas.openxmlformats.org/drawingml/2006/main" name="4_Title_Only_DinPro">
  <a:themeElements>
    <a:clrScheme name="Custom 1">
      <a:dk1>
        <a:srgbClr val="CDCDCD"/>
      </a:dk1>
      <a:lt1>
        <a:srgbClr val="FFFFFF"/>
      </a:lt1>
      <a:dk2>
        <a:srgbClr val="000000"/>
      </a:dk2>
      <a:lt2>
        <a:srgbClr val="76B900"/>
      </a:lt2>
      <a:accent1>
        <a:srgbClr val="008564"/>
      </a:accent1>
      <a:accent2>
        <a:srgbClr val="5D1682"/>
      </a:accent2>
      <a:accent3>
        <a:srgbClr val="890C58"/>
      </a:accent3>
      <a:accent4>
        <a:srgbClr val="5E5E5E"/>
      </a:accent4>
      <a:accent5>
        <a:srgbClr val="8C8C8C"/>
      </a:accent5>
      <a:accent6>
        <a:srgbClr val="0071C5"/>
      </a:accent6>
      <a:hlink>
        <a:srgbClr val="76B900"/>
      </a:hlink>
      <a:folHlink>
        <a:srgbClr val="004827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800" dirty="0" smtClean="0">
            <a:latin typeface="DINPro-Regular" panose="02000503030000020004" pitchFamily="50" charset="0"/>
          </a:defRPr>
        </a:defPPr>
      </a:lstStyle>
    </a:txDef>
  </a:objectDefaults>
  <a:extraClrSchemeLst>
    <a:extraClrScheme>
      <a:clrScheme name="PPT_Template_Corp_16x9_rev2 1">
        <a:dk1>
          <a:srgbClr val="808080"/>
        </a:dk1>
        <a:lt1>
          <a:srgbClr val="FFFFFF"/>
        </a:lt1>
        <a:dk2>
          <a:srgbClr val="000000"/>
        </a:dk2>
        <a:lt2>
          <a:srgbClr val="B9E700"/>
        </a:lt2>
        <a:accent1>
          <a:srgbClr val="33CCCC"/>
        </a:accent1>
        <a:accent2>
          <a:srgbClr val="FF9933"/>
        </a:accent2>
        <a:accent3>
          <a:srgbClr val="AAAAAA"/>
        </a:accent3>
        <a:accent4>
          <a:srgbClr val="DADADA"/>
        </a:accent4>
        <a:accent5>
          <a:srgbClr val="ADE2E2"/>
        </a:accent5>
        <a:accent6>
          <a:srgbClr val="E78A2D"/>
        </a:accent6>
        <a:hlink>
          <a:srgbClr val="99CCFF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62E8B1ED2DD24FA0E144B152522DF4" ma:contentTypeVersion="11" ma:contentTypeDescription="Create a new document." ma:contentTypeScope="" ma:versionID="b3138c7c8b00b5820509f00dae934724">
  <xsd:schema xmlns:xsd="http://www.w3.org/2001/XMLSchema" xmlns:xs="http://www.w3.org/2001/XMLSchema" xmlns:p="http://schemas.microsoft.com/office/2006/metadata/properties" xmlns:ns2="517eff97-f3c8-4e41-8734-ae9babce37eb" xmlns:ns3="e5da2a33-7d5b-4235-bd2d-9ea9b4fdb9fa" targetNamespace="http://schemas.microsoft.com/office/2006/metadata/properties" ma:root="true" ma:fieldsID="2d4932ada6f701bef195bde6dbf68c8d" ns2:_="" ns3:_="">
    <xsd:import namespace="517eff97-f3c8-4e41-8734-ae9babce37eb"/>
    <xsd:import namespace="e5da2a33-7d5b-4235-bd2d-9ea9b4fdb9fa"/>
    <xsd:element name="properties">
      <xsd:complexType>
        <xsd:sequence>
          <xsd:element name="documentManagement">
            <xsd:complexType>
              <xsd:all>
                <xsd:element ref="ns2:ConfID" minOccurs="0"/>
                <xsd:element ref="ns2:MediaServiceMetadata" minOccurs="0"/>
                <xsd:element ref="ns2:MediaServiceFastMetadata" minOccurs="0"/>
                <xsd:element ref="ns2:OCSOwner" minOccurs="0"/>
                <xsd:element ref="ns2:Test_x002f_prod" minOccurs="0"/>
                <xsd:element ref="ns2:Remarques" minOccurs="0"/>
                <xsd:element ref="ns2:Portailupdate" minOccurs="0"/>
                <xsd:element ref="ns2:PartDescommandes" minOccurs="0"/>
                <xsd:element ref="ns2:ConfigMenu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7eff97-f3c8-4e41-8734-ae9babce37eb" elementFormDefault="qualified">
    <xsd:import namespace="http://schemas.microsoft.com/office/2006/documentManagement/types"/>
    <xsd:import namespace="http://schemas.microsoft.com/office/infopath/2007/PartnerControls"/>
    <xsd:element name="ConfID" ma:index="8" nillable="true" ma:displayName="ConfID" ma:description="Config ID Portail" ma:format="Dropdown" ma:internalName="ConfID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OCSOwner" ma:index="11" nillable="true" ma:displayName="Conf Owner" ma:format="Dropdown" ma:list="UserInfo" ma:SharePointGroup="0" ma:internalName="OCS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est_x002f_prod" ma:index="12" nillable="true" ma:displayName="Test/prod" ma:default="None" ma:format="Dropdown" ma:internalName="Test_x002f_prod">
      <xsd:simpleType>
        <xsd:restriction base="dms:Choice">
          <xsd:enumeration value="Production"/>
          <xsd:enumeration value="Test"/>
          <xsd:enumeration value="None"/>
        </xsd:restriction>
      </xsd:simpleType>
    </xsd:element>
    <xsd:element name="Remarques" ma:index="13" nillable="true" ma:displayName="ToDo" ma:format="Dropdown" ma:internalName="Remarques">
      <xsd:simpleType>
        <xsd:restriction base="dms:Note">
          <xsd:maxLength value="255"/>
        </xsd:restriction>
      </xsd:simpleType>
    </xsd:element>
    <xsd:element name="Portailupdate" ma:index="14" nillable="true" ma:displayName="Portail update" ma:format="DateOnly" ma:internalName="Portailupdate">
      <xsd:simpleType>
        <xsd:restriction base="dms:DateTime"/>
      </xsd:simpleType>
    </xsd:element>
    <xsd:element name="PartDescommandes" ma:index="15" nillable="true" ma:displayName="% Order" ma:format="Dropdown" ma:internalName="PartDescommandes" ma:percentage="TRUE">
      <xsd:simpleType>
        <xsd:restriction base="dms:Number"/>
      </xsd:simpleType>
    </xsd:element>
    <xsd:element name="ConfigMenu" ma:index="16" nillable="true" ma:displayName="ConfigMenu" ma:format="DateOnly" ma:internalName="ConfigMenu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da2a33-7d5b-4235-bd2d-9ea9b4fdb9f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CSOwner xmlns="517eff97-f3c8-4e41-8734-ae9babce37eb">
      <UserInfo>
        <DisplayName/>
        <AccountId xsi:nil="true"/>
        <AccountType/>
      </UserInfo>
    </OCSOwner>
    <Remarques xmlns="517eff97-f3c8-4e41-8734-ae9babce37eb" xsi:nil="true"/>
    <ConfID xmlns="517eff97-f3c8-4e41-8734-ae9babce37eb" xsi:nil="true"/>
    <Test_x002f_prod xmlns="517eff97-f3c8-4e41-8734-ae9babce37eb">None</Test_x002f_prod>
    <ConfigMenu xmlns="517eff97-f3c8-4e41-8734-ae9babce37eb" xsi:nil="true"/>
    <PartDescommandes xmlns="517eff97-f3c8-4e41-8734-ae9babce37eb" xsi:nil="true"/>
    <Portailupdate xmlns="517eff97-f3c8-4e41-8734-ae9babce37eb" xsi:nil="true"/>
  </documentManagement>
</p:properties>
</file>

<file path=customXml/itemProps1.xml><?xml version="1.0" encoding="utf-8"?>
<ds:datastoreItem xmlns:ds="http://schemas.openxmlformats.org/officeDocument/2006/customXml" ds:itemID="{58B0E58D-D6F8-4E1B-B4B6-EC7BC41015F3}">
  <ds:schemaRefs>
    <ds:schemaRef ds:uri="517eff97-f3c8-4e41-8734-ae9babce37eb"/>
    <ds:schemaRef ds:uri="e5da2a33-7d5b-4235-bd2d-9ea9b4fdb9f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899C83B-C8BA-4AB2-9053-6E5E6975E1F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7E01C54-AB15-47A1-B434-B754AA8BE9D1}">
  <ds:schemaRefs>
    <ds:schemaRef ds:uri="517eff97-f3c8-4e41-8734-ae9babce37eb"/>
    <ds:schemaRef ds:uri="e5da2a33-7d5b-4235-bd2d-9ea9b4fdb9f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pe-standard-16x9-white-template-1657872101277</Template>
  <TotalTime>9236</TotalTime>
  <Words>2050</Words>
  <Application>Microsoft Office PowerPoint</Application>
  <PresentationFormat>Widescreen</PresentationFormat>
  <Paragraphs>406</Paragraphs>
  <Slides>20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7" baseType="lpstr">
      <vt:lpstr>DINPro-Medium</vt:lpstr>
      <vt:lpstr>MetricHPE</vt:lpstr>
      <vt:lpstr>MetricHPE Black</vt:lpstr>
      <vt:lpstr>Arial</vt:lpstr>
      <vt:lpstr>Times New Roman</vt:lpstr>
      <vt:lpstr>MetricHPE Light</vt:lpstr>
      <vt:lpstr>Trebuchet MS</vt:lpstr>
      <vt:lpstr>Calibri</vt:lpstr>
      <vt:lpstr>DINPro-Bold</vt:lpstr>
      <vt:lpstr>DINPro-Regular</vt:lpstr>
      <vt:lpstr>HPE Standard 16x9 White Template</vt:lpstr>
      <vt:lpstr>1_HPE Standard 16x9 White Template</vt:lpstr>
      <vt:lpstr>HPE Standard 16x9 Black Template</vt:lpstr>
      <vt:lpstr>2_HPE Standard 16x9 White Template</vt:lpstr>
      <vt:lpstr>2_HPE_Standard_Metric_16x9_080117</vt:lpstr>
      <vt:lpstr>4_Title_Only_DinPro</vt:lpstr>
      <vt:lpstr>think-cell Slide</vt:lpstr>
      <vt:lpstr>Les nouveautés du portefeuille HPE</vt:lpstr>
      <vt:lpstr>Agenda</vt:lpstr>
      <vt:lpstr>Offre PRODUIT ET SERVICE hpe</vt:lpstr>
      <vt:lpstr>PowerPoint Presentation</vt:lpstr>
      <vt:lpstr>PowerPoint Presentation</vt:lpstr>
      <vt:lpstr>PowerPoint Presentation</vt:lpstr>
      <vt:lpstr>Les Nouvelles technologies Gen11</vt:lpstr>
      <vt:lpstr>HPE ProLiant Compute Gen11 Portefeuille</vt:lpstr>
      <vt:lpstr>Core Compute Gen11 Portfolio</vt:lpstr>
      <vt:lpstr>HPE Cray conçus pour solution de calcul CPU et GPU </vt:lpstr>
      <vt:lpstr>HPE Alletra 4000 conçus pour solution de stockage SDS</vt:lpstr>
      <vt:lpstr>PowerPoint Presentation</vt:lpstr>
      <vt:lpstr>Pourquoi révolutionner le stockage ?</vt:lpstr>
      <vt:lpstr>Une plateforme de stockage pour le futur</vt:lpstr>
      <vt:lpstr>Mises à niveau en ligne sans interruption avec pérennité investissement</vt:lpstr>
      <vt:lpstr>PowerPoint Presentation</vt:lpstr>
      <vt:lpstr>Run any app without compromise with a 100% data availability guarantee</vt:lpstr>
      <vt:lpstr>Solutions de Back-up: HPE et Veeam</vt:lpstr>
      <vt:lpstr>Quelques exemples de solutions et architectures HPE</vt:lpstr>
      <vt:lpstr>Merci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 sample title slide</dc:title>
  <dc:creator>Yeh, Daniel</dc:creator>
  <cp:lastModifiedBy>Flijja, Imran</cp:lastModifiedBy>
  <cp:revision>141</cp:revision>
  <dcterms:created xsi:type="dcterms:W3CDTF">2022-08-30T16:51:16Z</dcterms:created>
  <dcterms:modified xsi:type="dcterms:W3CDTF">2024-02-01T09:0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E62E8B1ED2DD24FA0E144B152522DF4</vt:lpwstr>
  </property>
</Properties>
</file>